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9" r:id="rId4"/>
    <p:sldMasterId id="2147483682" r:id="rId5"/>
    <p:sldMasterId id="2147483744" r:id="rId6"/>
  </p:sldMasterIdLst>
  <p:notesMasterIdLst>
    <p:notesMasterId r:id="rId24"/>
  </p:notesMasterIdLst>
  <p:sldIdLst>
    <p:sldId id="11056" r:id="rId7"/>
    <p:sldId id="350" r:id="rId8"/>
    <p:sldId id="356" r:id="rId9"/>
    <p:sldId id="357" r:id="rId10"/>
    <p:sldId id="362" r:id="rId11"/>
    <p:sldId id="358" r:id="rId12"/>
    <p:sldId id="363" r:id="rId13"/>
    <p:sldId id="366" r:id="rId14"/>
    <p:sldId id="359" r:id="rId15"/>
    <p:sldId id="360" r:id="rId16"/>
    <p:sldId id="364" r:id="rId17"/>
    <p:sldId id="365" r:id="rId18"/>
    <p:sldId id="367" r:id="rId19"/>
    <p:sldId id="368" r:id="rId20"/>
    <p:sldId id="260" r:id="rId21"/>
    <p:sldId id="370" r:id="rId22"/>
    <p:sldId id="259" r:id="rId23"/>
  </p:sldIdLst>
  <p:sldSz cx="12192000" cy="6858000"/>
  <p:notesSz cx="7010400" cy="92964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Myriad Pro" panose="020B0503030403020204" charset="0"/>
      <p:regular r:id="rId29"/>
      <p:bold r:id="rId30"/>
      <p:italic r:id="rId31"/>
      <p:boldItalic r:id="rId32"/>
    </p:embeddedFont>
    <p:embeddedFont>
      <p:font typeface="Myriad Pro Cond" panose="020B0506030403020204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3" orient="horz" pos="864" userDrawn="1">
          <p15:clr>
            <a:srgbClr val="A4A3A4"/>
          </p15:clr>
        </p15:guide>
        <p15:guide id="6" orient="horz" pos="432" userDrawn="1">
          <p15:clr>
            <a:srgbClr val="A4A3A4"/>
          </p15:clr>
        </p15:guide>
        <p15:guide id="7" pos="7296" userDrawn="1">
          <p15:clr>
            <a:srgbClr val="A4A3A4"/>
          </p15:clr>
        </p15:guide>
        <p15:guide id="8" orient="horz" pos="4032" userDrawn="1">
          <p15:clr>
            <a:srgbClr val="A4A3A4"/>
          </p15:clr>
        </p15:guide>
        <p15:guide id="9" pos="384" userDrawn="1">
          <p15:clr>
            <a:srgbClr val="A4A3A4"/>
          </p15:clr>
        </p15:guide>
        <p15:guide id="10" orient="horz" pos="2088">
          <p15:clr>
            <a:srgbClr val="A4A3A4"/>
          </p15:clr>
        </p15:guide>
        <p15:guide id="11" orient="horz" pos="2528">
          <p15:clr>
            <a:srgbClr val="A4A3A4"/>
          </p15:clr>
        </p15:guide>
        <p15:guide id="12" pos="728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7878"/>
    <a:srgbClr val="FFFFFF"/>
    <a:srgbClr val="7F7F7F"/>
    <a:srgbClr val="0085CA"/>
    <a:srgbClr val="009639"/>
    <a:srgbClr val="FC4C02"/>
    <a:srgbClr val="0070C0"/>
    <a:srgbClr val="475534"/>
    <a:srgbClr val="BFBFBF"/>
    <a:srgbClr val="CF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04" autoAdjust="0"/>
    <p:restoredTop sz="90588" autoAdjust="0"/>
  </p:normalViewPr>
  <p:slideViewPr>
    <p:cSldViewPr snapToGrid="0">
      <p:cViewPr varScale="1">
        <p:scale>
          <a:sx n="114" d="100"/>
          <a:sy n="114" d="100"/>
        </p:scale>
        <p:origin x="672" y="102"/>
      </p:cViewPr>
      <p:guideLst>
        <p:guide orient="horz" pos="2112"/>
        <p:guide orient="horz" pos="864"/>
        <p:guide orient="horz" pos="432"/>
        <p:guide pos="7296"/>
        <p:guide orient="horz" pos="4032"/>
        <p:guide pos="384"/>
        <p:guide orient="horz" pos="2088"/>
        <p:guide orient="horz" pos="2528"/>
        <p:guide pos="72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2.fntdata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10.fntdata"/><Relationship Id="rId42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5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panov, Vladimir {PI}" userId="f7c0858a-cb39-4f12-aeaa-aa5fb3470ec0" providerId="ADAL" clId="{A3FFBEBA-688D-46C5-BDAE-7D4FF273B89F}"/>
    <pc:docChg chg="modSld">
      <pc:chgData name="Stepanov, Vladimir {PI}" userId="f7c0858a-cb39-4f12-aeaa-aa5fb3470ec0" providerId="ADAL" clId="{A3FFBEBA-688D-46C5-BDAE-7D4FF273B89F}" dt="2020-04-15T10:49:58.580" v="15" actId="14100"/>
      <pc:docMkLst>
        <pc:docMk/>
      </pc:docMkLst>
      <pc:sldChg chg="modSp">
        <pc:chgData name="Stepanov, Vladimir {PI}" userId="f7c0858a-cb39-4f12-aeaa-aa5fb3470ec0" providerId="ADAL" clId="{A3FFBEBA-688D-46C5-BDAE-7D4FF273B89F}" dt="2020-04-15T10:49:58.580" v="15" actId="14100"/>
        <pc:sldMkLst>
          <pc:docMk/>
          <pc:sldMk cId="4255834737" sldId="259"/>
        </pc:sldMkLst>
        <pc:spChg chg="mod">
          <ac:chgData name="Stepanov, Vladimir {PI}" userId="f7c0858a-cb39-4f12-aeaa-aa5fb3470ec0" providerId="ADAL" clId="{A3FFBEBA-688D-46C5-BDAE-7D4FF273B89F}" dt="2020-04-15T10:49:58.580" v="15" actId="14100"/>
          <ac:spMkLst>
            <pc:docMk/>
            <pc:sldMk cId="4255834737" sldId="259"/>
            <ac:spMk id="5" creationId="{B4B438F2-801D-4152-89B6-727BDC754DFE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Myriad Pro Cond" panose="020B0506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Myriad Pro Cond" panose="020B0506030403020204" pitchFamily="34" charset="0"/>
              </a:defRPr>
            </a:lvl1pPr>
          </a:lstStyle>
          <a:p>
            <a:fld id="{140D7C5F-B6E8-4EE0-8F2D-12020D95B58E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Myriad Pro Cond" panose="020B0506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Myriad Pro Cond" panose="020B0506030403020204" pitchFamily="34" charset="0"/>
              </a:defRPr>
            </a:lvl1pPr>
          </a:lstStyle>
          <a:p>
            <a:fld id="{8BAA3FE7-89EA-4027-9630-EF8B1580F2C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3720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yriad Pro Cond" panose="020B0506030403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yriad Pro Cond" panose="020B0506030403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yriad Pro Cond" panose="020B0506030403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yriad Pro Cond" panose="020B0506030403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yriad Pro Cond" panose="020B0506030403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ts val="611"/>
              </a:spcBef>
            </a:pPr>
            <a:r>
              <a:rPr lang="en-US" dirty="0">
                <a:latin typeface="Myriad Pro" panose="020B0503030403020204" pitchFamily="34" charset="0"/>
              </a:rPr>
              <a:t>With approximately $63billion in net revenue and more than 250,000 employees, PepsiCo is among the largest food-and-beverage companies in the world. </a:t>
            </a:r>
          </a:p>
          <a:p>
            <a:pPr marL="174708" indent="-174708">
              <a:lnSpc>
                <a:spcPct val="90000"/>
              </a:lnSpc>
              <a:spcBef>
                <a:spcPts val="611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Myriad Pro" panose="020B0503030403020204" pitchFamily="34" charset="0"/>
              </a:rPr>
              <a:t>Our foods and beverages are consumed nearly 1 billion times each day nearly every country around the world.</a:t>
            </a:r>
          </a:p>
          <a:p>
            <a:pPr marL="174708" indent="-174708">
              <a:lnSpc>
                <a:spcPct val="90000"/>
              </a:lnSpc>
              <a:spcBef>
                <a:spcPts val="611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Myriad Pro" panose="020B0503030403020204" pitchFamily="34" charset="0"/>
              </a:rPr>
              <a:t>PepsiCo is made up of three global businesses – beverages, snacks and nutrition.</a:t>
            </a:r>
          </a:p>
          <a:p>
            <a:pPr marL="174708" indent="-174708">
              <a:lnSpc>
                <a:spcPct val="90000"/>
              </a:lnSpc>
              <a:spcBef>
                <a:spcPts val="611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Myriad Pro" panose="020B0503030403020204" pitchFamily="34" charset="0"/>
              </a:rPr>
              <a:t>Twenty-two of the brands in our portfolio – including Pepsi-Cola, Quaker Oats, Tropicana, Lay’s and Gatorade – generate more than $1 billion each in retail sales every year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5AD4C7-010A-4AAC-9156-A9FE9DA8FE59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64819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Myriad Pro" panose="020B0503030403020204" pitchFamily="34" charset="0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56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57066" indent="-291179" defTabSz="94956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64717" indent="-232943" defTabSz="94956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30604" indent="-232943" defTabSz="94956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96491" indent="-232943" defTabSz="94956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62377" indent="-232943" defTabSz="94956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28264" indent="-232943" defTabSz="94956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94151" indent="-232943" defTabSz="94956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60038" indent="-232943" defTabSz="94956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B159DAE-0A99-4ECA-9AA2-74A5B9826B1E}" type="slidenum">
              <a:rPr lang="en-US" altLang="en-US">
                <a:latin typeface="Myriad Pro" panose="020B0503030403020204" pitchFamily="34" charset="0"/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en-US" dirty="0"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4356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079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noFill/>
              </a:ln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75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892985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1200" y="6477000"/>
            <a:ext cx="5486400" cy="304800"/>
          </a:xfrm>
        </p:spPr>
        <p:txBody>
          <a:bodyPr anchor="ctr"/>
          <a:lstStyle>
            <a:lvl1pPr marL="0" indent="0" algn="r">
              <a:buNone/>
              <a:defRPr sz="1000">
                <a:latin typeface="Myriad Pro" panose="020B0503030403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38214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Рисунок 4">
            <a:extLst>
              <a:ext uri="{FF2B5EF4-FFF2-40B4-BE49-F238E27FC236}">
                <a16:creationId xmlns:a16="http://schemas.microsoft.com/office/drawing/2014/main" id="{578951D5-8F81-F248-B6E3-D85B464CCC43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0" y="10"/>
            <a:ext cx="12192000" cy="6857993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36712C4-588F-C542-A607-74848B01F7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1987" y="379080"/>
            <a:ext cx="9168029" cy="1660884"/>
          </a:xfrm>
        </p:spPr>
        <p:txBody>
          <a:bodyPr lIns="0" rIns="0" anchor="t" anchorCtr="0">
            <a:normAutofit/>
          </a:bodyPr>
          <a:lstStyle>
            <a:lvl1pPr algn="l">
              <a:lnSpc>
                <a:spcPct val="100000"/>
              </a:lnSpc>
              <a:defRPr sz="3200" b="1" i="0" cap="none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4A5C1F7-C53D-8C43-A424-04B44F1314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1986" y="770730"/>
            <a:ext cx="9168029" cy="877584"/>
          </a:xfrm>
        </p:spPr>
        <p:txBody>
          <a:bodyPr lIns="0" tIns="0" rIns="0" bIns="0">
            <a:noAutofit/>
          </a:bodyPr>
          <a:lstStyle>
            <a:lvl1pPr marL="0" marR="0" indent="0" algn="l" defTabSz="48482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 cap="none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42415" indent="0" algn="ctr">
              <a:buNone/>
              <a:defRPr sz="1060"/>
            </a:lvl2pPr>
            <a:lvl3pPr marL="484828" indent="0" algn="ctr">
              <a:buNone/>
              <a:defRPr sz="955"/>
            </a:lvl3pPr>
            <a:lvl4pPr marL="727242" indent="0" algn="ctr">
              <a:buNone/>
              <a:defRPr sz="849"/>
            </a:lvl4pPr>
            <a:lvl5pPr marL="969657" indent="0" algn="ctr">
              <a:buNone/>
              <a:defRPr sz="849"/>
            </a:lvl5pPr>
            <a:lvl6pPr marL="1212070" indent="0" algn="ctr">
              <a:buNone/>
              <a:defRPr sz="849"/>
            </a:lvl6pPr>
            <a:lvl7pPr marL="1454484" indent="0" algn="ctr">
              <a:buNone/>
              <a:defRPr sz="849"/>
            </a:lvl7pPr>
            <a:lvl8pPr marL="1696898" indent="0" algn="ctr">
              <a:buNone/>
              <a:defRPr sz="849"/>
            </a:lvl8pPr>
            <a:lvl9pPr marL="1939313" indent="0" algn="ctr">
              <a:buNone/>
              <a:defRPr sz="849"/>
            </a:lvl9pPr>
          </a:lstStyle>
          <a:p>
            <a:r>
              <a:rPr lang="en-US"/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253994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6712C4-588F-C542-A607-74848B01F7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32221" y="441325"/>
            <a:ext cx="9168029" cy="492953"/>
          </a:xfrm>
        </p:spPr>
        <p:txBody>
          <a:bodyPr lIns="0" rIns="0" anchor="t" anchorCtr="0">
            <a:normAutofit/>
          </a:bodyPr>
          <a:lstStyle>
            <a:lvl1pPr algn="l">
              <a:lnSpc>
                <a:spcPct val="100000"/>
              </a:lnSpc>
              <a:defRPr sz="3200" b="1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4A5C1F7-C53D-8C43-A424-04B44F1314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2221" y="832975"/>
            <a:ext cx="9168029" cy="578382"/>
          </a:xfrm>
        </p:spPr>
        <p:txBody>
          <a:bodyPr lIns="0" tIns="0" rIns="0" bIns="0">
            <a:noAutofit/>
          </a:bodyPr>
          <a:lstStyle>
            <a:lvl1pPr marL="0" marR="0" indent="0" algn="l" defTabSz="48482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42415" indent="0" algn="ctr">
              <a:buNone/>
              <a:defRPr sz="1060"/>
            </a:lvl2pPr>
            <a:lvl3pPr marL="484828" indent="0" algn="ctr">
              <a:buNone/>
              <a:defRPr sz="955"/>
            </a:lvl3pPr>
            <a:lvl4pPr marL="727242" indent="0" algn="ctr">
              <a:buNone/>
              <a:defRPr sz="849"/>
            </a:lvl4pPr>
            <a:lvl5pPr marL="969657" indent="0" algn="ctr">
              <a:buNone/>
              <a:defRPr sz="849"/>
            </a:lvl5pPr>
            <a:lvl6pPr marL="1212070" indent="0" algn="ctr">
              <a:buNone/>
              <a:defRPr sz="849"/>
            </a:lvl6pPr>
            <a:lvl7pPr marL="1454484" indent="0" algn="ctr">
              <a:buNone/>
              <a:defRPr sz="849"/>
            </a:lvl7pPr>
            <a:lvl8pPr marL="1696898" indent="0" algn="ctr">
              <a:buNone/>
              <a:defRPr sz="849"/>
            </a:lvl8pPr>
            <a:lvl9pPr marL="1939313" indent="0" algn="ctr">
              <a:buNone/>
              <a:defRPr sz="849"/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AB807-57C7-E245-BB78-75ECF8AE7CB6}"/>
              </a:ext>
            </a:extLst>
          </p:cNvPr>
          <p:cNvSpPr txBox="1"/>
          <p:nvPr/>
        </p:nvSpPr>
        <p:spPr>
          <a:xfrm>
            <a:off x="10816683" y="1784195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320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525BD8-4942-444B-BE12-D99AFF280200}"/>
              </a:ext>
            </a:extLst>
          </p:cNvPr>
          <p:cNvSpPr txBox="1"/>
          <p:nvPr/>
        </p:nvSpPr>
        <p:spPr>
          <a:xfrm>
            <a:off x="9411195" y="4868883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452DCF2-613F-C04D-92F4-6D494089F4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221" y="6210880"/>
            <a:ext cx="2716789" cy="23192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75A8CFF-6917-764F-B8B1-B97D0B8C4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6236" y="2500830"/>
            <a:ext cx="6975764" cy="4357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022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6712C4-588F-C542-A607-74848B01F7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5474697"/>
            <a:ext cx="9168029" cy="508660"/>
          </a:xfrm>
        </p:spPr>
        <p:txBody>
          <a:bodyPr lIns="0" rIns="0" anchor="t" anchorCtr="0">
            <a:normAutofit/>
          </a:bodyPr>
          <a:lstStyle>
            <a:lvl1pPr algn="l">
              <a:lnSpc>
                <a:spcPct val="100000"/>
              </a:lnSpc>
              <a:defRPr sz="3200" b="1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4A5C1F7-C53D-8C43-A424-04B44F1314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5866347"/>
            <a:ext cx="9168029" cy="544392"/>
          </a:xfrm>
        </p:spPr>
        <p:txBody>
          <a:bodyPr lIns="0" tIns="0" rIns="0" bIns="0">
            <a:noAutofit/>
          </a:bodyPr>
          <a:lstStyle>
            <a:lvl1pPr marL="0" marR="0" indent="0" algn="l" defTabSz="48482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42415" indent="0" algn="ctr">
              <a:buNone/>
              <a:defRPr sz="1060"/>
            </a:lvl2pPr>
            <a:lvl3pPr marL="484828" indent="0" algn="ctr">
              <a:buNone/>
              <a:defRPr sz="955"/>
            </a:lvl3pPr>
            <a:lvl4pPr marL="727242" indent="0" algn="ctr">
              <a:buNone/>
              <a:defRPr sz="849"/>
            </a:lvl4pPr>
            <a:lvl5pPr marL="969657" indent="0" algn="ctr">
              <a:buNone/>
              <a:defRPr sz="849"/>
            </a:lvl5pPr>
            <a:lvl6pPr marL="1212070" indent="0" algn="ctr">
              <a:buNone/>
              <a:defRPr sz="849"/>
            </a:lvl6pPr>
            <a:lvl7pPr marL="1454484" indent="0" algn="ctr">
              <a:buNone/>
              <a:defRPr sz="849"/>
            </a:lvl7pPr>
            <a:lvl8pPr marL="1696898" indent="0" algn="ctr">
              <a:buNone/>
              <a:defRPr sz="849"/>
            </a:lvl8pPr>
            <a:lvl9pPr marL="1939313" indent="0" algn="ctr">
              <a:buNone/>
              <a:defRPr sz="849"/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AB807-57C7-E245-BB78-75ECF8AE7CB6}"/>
              </a:ext>
            </a:extLst>
          </p:cNvPr>
          <p:cNvSpPr txBox="1"/>
          <p:nvPr/>
        </p:nvSpPr>
        <p:spPr>
          <a:xfrm>
            <a:off x="10816683" y="1784195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525BD8-4942-444B-BE12-D99AFF280200}"/>
              </a:ext>
            </a:extLst>
          </p:cNvPr>
          <p:cNvSpPr txBox="1"/>
          <p:nvPr/>
        </p:nvSpPr>
        <p:spPr>
          <a:xfrm>
            <a:off x="9411195" y="4868883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642EE7-4207-214F-BC14-3D8CA7B955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2273" y="-106"/>
            <a:ext cx="10979727" cy="6858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911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6712C4-588F-C542-A607-74848B01F7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68" y="357141"/>
            <a:ext cx="9168029" cy="557259"/>
          </a:xfrm>
        </p:spPr>
        <p:txBody>
          <a:bodyPr lIns="0" rIns="0" anchor="t" anchorCtr="0">
            <a:normAutofit/>
          </a:bodyPr>
          <a:lstStyle>
            <a:lvl1pPr algn="l">
              <a:lnSpc>
                <a:spcPct val="100000"/>
              </a:lnSpc>
              <a:defRPr sz="3200" b="1" i="0" cap="none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4A5C1F7-C53D-8C43-A424-04B44F1314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68" y="776713"/>
            <a:ext cx="9168029" cy="494819"/>
          </a:xfrm>
        </p:spPr>
        <p:txBody>
          <a:bodyPr lIns="0" tIns="0" rIns="0" bIns="0">
            <a:noAutofit/>
          </a:bodyPr>
          <a:lstStyle>
            <a:lvl1pPr marL="0" marR="0" indent="0" algn="l" defTabSz="48482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 cap="none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42415" indent="0" algn="ctr">
              <a:buNone/>
              <a:defRPr sz="1060"/>
            </a:lvl2pPr>
            <a:lvl3pPr marL="484828" indent="0" algn="ctr">
              <a:buNone/>
              <a:defRPr sz="955"/>
            </a:lvl3pPr>
            <a:lvl4pPr marL="727242" indent="0" algn="ctr">
              <a:buNone/>
              <a:defRPr sz="849"/>
            </a:lvl4pPr>
            <a:lvl5pPr marL="969657" indent="0" algn="ctr">
              <a:buNone/>
              <a:defRPr sz="849"/>
            </a:lvl5pPr>
            <a:lvl6pPr marL="1212070" indent="0" algn="ctr">
              <a:buNone/>
              <a:defRPr sz="849"/>
            </a:lvl6pPr>
            <a:lvl7pPr marL="1454484" indent="0" algn="ctr">
              <a:buNone/>
              <a:defRPr sz="849"/>
            </a:lvl7pPr>
            <a:lvl8pPr marL="1696898" indent="0" algn="ctr">
              <a:buNone/>
              <a:defRPr sz="849"/>
            </a:lvl8pPr>
            <a:lvl9pPr marL="1939313" indent="0" algn="ctr">
              <a:buNone/>
              <a:defRPr sz="849"/>
            </a:lvl9pPr>
          </a:lstStyle>
          <a:p>
            <a:r>
              <a:rPr lang="en-US"/>
              <a:t>Presenter Nam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E4944A3-B90A-8F4A-8E9E-F5C63620E24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2221" y="6210880"/>
            <a:ext cx="2716789" cy="2319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2DCC480-FC01-A444-95CE-BCEE057159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22730" y="2604052"/>
            <a:ext cx="6839106" cy="426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439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36712C4-588F-C542-A607-74848B01F7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3568" y="343897"/>
            <a:ext cx="9168029" cy="481051"/>
          </a:xfrm>
        </p:spPr>
        <p:txBody>
          <a:bodyPr lIns="0" rIns="0" anchor="t" anchorCtr="0">
            <a:normAutofit/>
          </a:bodyPr>
          <a:lstStyle>
            <a:lvl1pPr algn="l">
              <a:lnSpc>
                <a:spcPct val="100000"/>
              </a:lnSpc>
              <a:defRPr sz="3200" b="1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4A5C1F7-C53D-8C43-A424-04B44F1314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3568" y="735547"/>
            <a:ext cx="9168029" cy="506844"/>
          </a:xfrm>
        </p:spPr>
        <p:txBody>
          <a:bodyPr lIns="0" tIns="0" rIns="0" bIns="0">
            <a:noAutofit/>
          </a:bodyPr>
          <a:lstStyle>
            <a:lvl1pPr marL="0" marR="0" indent="0" algn="l" defTabSz="484828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 b="0" i="0" cap="none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42415" indent="0" algn="ctr">
              <a:buNone/>
              <a:defRPr sz="1060"/>
            </a:lvl2pPr>
            <a:lvl3pPr marL="484828" indent="0" algn="ctr">
              <a:buNone/>
              <a:defRPr sz="955"/>
            </a:lvl3pPr>
            <a:lvl4pPr marL="727242" indent="0" algn="ctr">
              <a:buNone/>
              <a:defRPr sz="849"/>
            </a:lvl4pPr>
            <a:lvl5pPr marL="969657" indent="0" algn="ctr">
              <a:buNone/>
              <a:defRPr sz="849"/>
            </a:lvl5pPr>
            <a:lvl6pPr marL="1212070" indent="0" algn="ctr">
              <a:buNone/>
              <a:defRPr sz="849"/>
            </a:lvl6pPr>
            <a:lvl7pPr marL="1454484" indent="0" algn="ctr">
              <a:buNone/>
              <a:defRPr sz="849"/>
            </a:lvl7pPr>
            <a:lvl8pPr marL="1696898" indent="0" algn="ctr">
              <a:buNone/>
              <a:defRPr sz="849"/>
            </a:lvl8pPr>
            <a:lvl9pPr marL="1939313" indent="0" algn="ctr">
              <a:buNone/>
              <a:defRPr sz="849"/>
            </a:lvl9pPr>
          </a:lstStyle>
          <a:p>
            <a:r>
              <a:rPr lang="en-US"/>
              <a:t>Presenter Nam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BDAB807-57C7-E245-BB78-75ECF8AE7CB6}"/>
              </a:ext>
            </a:extLst>
          </p:cNvPr>
          <p:cNvSpPr txBox="1"/>
          <p:nvPr/>
        </p:nvSpPr>
        <p:spPr>
          <a:xfrm>
            <a:off x="10816683" y="1784195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D525BD8-4942-444B-BE12-D99AFF280200}"/>
              </a:ext>
            </a:extLst>
          </p:cNvPr>
          <p:cNvSpPr txBox="1"/>
          <p:nvPr/>
        </p:nvSpPr>
        <p:spPr>
          <a:xfrm>
            <a:off x="9390875" y="-261917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5863D40-58DB-C845-948D-9BA6812D15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48" y="5908676"/>
            <a:ext cx="829565" cy="518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7944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and big statement">
    <p:bg>
      <p:bgPr>
        <a:solidFill>
          <a:srgbClr val="2288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8027A2-FD5F-8A43-8AC9-C779545D5A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4675" y="2143632"/>
            <a:ext cx="7134335" cy="653437"/>
          </a:xfrm>
          <a:prstGeom prst="rect">
            <a:avLst/>
          </a:prstGeom>
        </p:spPr>
        <p:txBody>
          <a:bodyPr wrap="square" lIns="0" r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>
                <a:latin typeface="GT Walsheim Pro" pitchFamily="2" charset="77"/>
              </a:defRPr>
            </a:lvl2pPr>
            <a:lvl3pPr marL="914400" indent="0">
              <a:buNone/>
              <a:defRPr b="0">
                <a:latin typeface="GT Walsheim Pro" pitchFamily="2" charset="77"/>
              </a:defRPr>
            </a:lvl3pPr>
            <a:lvl4pPr marL="1371600" indent="0">
              <a:buNone/>
              <a:defRPr b="0">
                <a:latin typeface="GT Walsheim Pro" pitchFamily="2" charset="77"/>
              </a:defRPr>
            </a:lvl4pPr>
            <a:lvl5pPr marL="1828800" indent="0">
              <a:buNone/>
              <a:defRPr b="0">
                <a:latin typeface="GT Walsheim Pro" pitchFamily="2" charset="77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6CE0D30-D365-C140-89E0-1F21BD9022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04675" y="1199092"/>
            <a:ext cx="7134335" cy="653437"/>
          </a:xfrm>
          <a:prstGeom prst="rect">
            <a:avLst/>
          </a:prstGeom>
        </p:spPr>
        <p:txBody>
          <a:bodyPr wrap="square" lIns="0" r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>
                <a:latin typeface="GT Walsheim Pro" pitchFamily="2" charset="77"/>
              </a:defRPr>
            </a:lvl2pPr>
            <a:lvl3pPr marL="914400" indent="0">
              <a:buNone/>
              <a:defRPr b="0">
                <a:latin typeface="GT Walsheim Pro" pitchFamily="2" charset="77"/>
              </a:defRPr>
            </a:lvl3pPr>
            <a:lvl4pPr marL="1371600" indent="0">
              <a:buNone/>
              <a:defRPr b="0">
                <a:latin typeface="GT Walsheim Pro" pitchFamily="2" charset="77"/>
              </a:defRPr>
            </a:lvl4pPr>
            <a:lvl5pPr marL="1828800" indent="0">
              <a:buNone/>
              <a:defRPr b="0">
                <a:latin typeface="GT Walsheim Pro" pitchFamily="2" charset="77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C2C537A-4B97-6248-8647-B99CD00BAF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04675" y="1671362"/>
            <a:ext cx="7134335" cy="653437"/>
          </a:xfrm>
          <a:prstGeom prst="rect">
            <a:avLst/>
          </a:prstGeom>
        </p:spPr>
        <p:txBody>
          <a:bodyPr wrap="square" lIns="0" r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>
                <a:latin typeface="GT Walsheim Pro" pitchFamily="2" charset="77"/>
              </a:defRPr>
            </a:lvl2pPr>
            <a:lvl3pPr marL="914400" indent="0">
              <a:buNone/>
              <a:defRPr b="0">
                <a:latin typeface="GT Walsheim Pro" pitchFamily="2" charset="77"/>
              </a:defRPr>
            </a:lvl3pPr>
            <a:lvl4pPr marL="1371600" indent="0">
              <a:buNone/>
              <a:defRPr b="0">
                <a:latin typeface="GT Walsheim Pro" pitchFamily="2" charset="77"/>
              </a:defRPr>
            </a:lvl4pPr>
            <a:lvl5pPr marL="1828800" indent="0">
              <a:buNone/>
              <a:defRPr b="0">
                <a:latin typeface="GT Walsheim Pro" pitchFamily="2" charset="77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EDCE126-FE09-5B4B-BA0D-0B77CDF074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04675" y="2615902"/>
            <a:ext cx="7134335" cy="653437"/>
          </a:xfrm>
          <a:prstGeom prst="rect">
            <a:avLst/>
          </a:prstGeom>
        </p:spPr>
        <p:txBody>
          <a:bodyPr wrap="square" lIns="0" r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>
                <a:latin typeface="GT Walsheim Pro" pitchFamily="2" charset="77"/>
              </a:defRPr>
            </a:lvl2pPr>
            <a:lvl3pPr marL="914400" indent="0">
              <a:buNone/>
              <a:defRPr b="0">
                <a:latin typeface="GT Walsheim Pro" pitchFamily="2" charset="77"/>
              </a:defRPr>
            </a:lvl3pPr>
            <a:lvl4pPr marL="1371600" indent="0">
              <a:buNone/>
              <a:defRPr b="0">
                <a:latin typeface="GT Walsheim Pro" pitchFamily="2" charset="77"/>
              </a:defRPr>
            </a:lvl4pPr>
            <a:lvl5pPr marL="1828800" indent="0">
              <a:buNone/>
              <a:defRPr b="0">
                <a:latin typeface="GT Walsheim Pro" pitchFamily="2" charset="77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9CD298-FA4E-2A41-9DCD-EACDB2D73E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104675" y="3088174"/>
            <a:ext cx="7134335" cy="653437"/>
          </a:xfrm>
          <a:prstGeom prst="rect">
            <a:avLst/>
          </a:prstGeom>
        </p:spPr>
        <p:txBody>
          <a:bodyPr wrap="square" lIns="0" rIns="0" anchor="t" anchorCtr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0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>
                <a:latin typeface="GT Walsheim Pro" pitchFamily="2" charset="77"/>
              </a:defRPr>
            </a:lvl2pPr>
            <a:lvl3pPr marL="914400" indent="0">
              <a:buNone/>
              <a:defRPr b="0">
                <a:latin typeface="GT Walsheim Pro" pitchFamily="2" charset="77"/>
              </a:defRPr>
            </a:lvl3pPr>
            <a:lvl4pPr marL="1371600" indent="0">
              <a:buNone/>
              <a:defRPr b="0">
                <a:latin typeface="GT Walsheim Pro" pitchFamily="2" charset="77"/>
              </a:defRPr>
            </a:lvl4pPr>
            <a:lvl5pPr marL="1828800" indent="0">
              <a:buNone/>
              <a:defRPr b="0">
                <a:latin typeface="GT Walsheim Pro" pitchFamily="2" charset="77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C423D0-3409-7542-AD01-1171C330D739}"/>
              </a:ext>
            </a:extLst>
          </p:cNvPr>
          <p:cNvSpPr/>
          <p:nvPr/>
        </p:nvSpPr>
        <p:spPr>
          <a:xfrm>
            <a:off x="643416" y="1206433"/>
            <a:ext cx="34836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3BCA6FC-D916-8345-8161-14CE7B65A183}"/>
              </a:ext>
            </a:extLst>
          </p:cNvPr>
          <p:cNvSpPr/>
          <p:nvPr/>
        </p:nvSpPr>
        <p:spPr>
          <a:xfrm>
            <a:off x="643416" y="1680154"/>
            <a:ext cx="34836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C693564-169C-5A41-BB16-8D8A775ABA02}"/>
              </a:ext>
            </a:extLst>
          </p:cNvPr>
          <p:cNvSpPr/>
          <p:nvPr/>
        </p:nvSpPr>
        <p:spPr>
          <a:xfrm>
            <a:off x="643416" y="2153875"/>
            <a:ext cx="34836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2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 </a:t>
            </a:r>
          </a:p>
        </p:txBody>
      </p:sp>
      <p:sp>
        <p:nvSpPr>
          <p:cNvPr id="30" name="Freeform 27">
            <a:extLst>
              <a:ext uri="{FF2B5EF4-FFF2-40B4-BE49-F238E27FC236}">
                <a16:creationId xmlns:a16="http://schemas.microsoft.com/office/drawing/2014/main" id="{E806A952-4564-AF4C-AE24-A57D9F4E79C5}"/>
              </a:ext>
            </a:extLst>
          </p:cNvPr>
          <p:cNvSpPr/>
          <p:nvPr/>
        </p:nvSpPr>
        <p:spPr>
          <a:xfrm>
            <a:off x="11575088" y="229719"/>
            <a:ext cx="342372" cy="211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102"/>
                </a:moveTo>
                <a:cubicBezTo>
                  <a:pt x="21600" y="7710"/>
                  <a:pt x="20450" y="5516"/>
                  <a:pt x="18233" y="5516"/>
                </a:cubicBezTo>
                <a:cubicBezTo>
                  <a:pt x="15995" y="5516"/>
                  <a:pt x="15995" y="5516"/>
                  <a:pt x="15995" y="5516"/>
                </a:cubicBezTo>
                <a:cubicBezTo>
                  <a:pt x="15995" y="9836"/>
                  <a:pt x="15995" y="9836"/>
                  <a:pt x="15995" y="9836"/>
                </a:cubicBezTo>
                <a:cubicBezTo>
                  <a:pt x="13079" y="9836"/>
                  <a:pt x="13079" y="9836"/>
                  <a:pt x="13079" y="9836"/>
                </a:cubicBezTo>
                <a:cubicBezTo>
                  <a:pt x="11909" y="13359"/>
                  <a:pt x="11909" y="13359"/>
                  <a:pt x="11909" y="13359"/>
                </a:cubicBezTo>
                <a:cubicBezTo>
                  <a:pt x="10677" y="9836"/>
                  <a:pt x="10677" y="9836"/>
                  <a:pt x="10677" y="9836"/>
                </a:cubicBezTo>
                <a:cubicBezTo>
                  <a:pt x="9116" y="9836"/>
                  <a:pt x="9116" y="9836"/>
                  <a:pt x="9116" y="9836"/>
                </a:cubicBezTo>
                <a:cubicBezTo>
                  <a:pt x="9301" y="9039"/>
                  <a:pt x="9383" y="8208"/>
                  <a:pt x="9383" y="7377"/>
                </a:cubicBezTo>
                <a:cubicBezTo>
                  <a:pt x="9383" y="7311"/>
                  <a:pt x="9383" y="7311"/>
                  <a:pt x="9383" y="7311"/>
                </a:cubicBezTo>
                <a:cubicBezTo>
                  <a:pt x="9383" y="5350"/>
                  <a:pt x="8911" y="3489"/>
                  <a:pt x="8049" y="2127"/>
                </a:cubicBezTo>
                <a:cubicBezTo>
                  <a:pt x="7166" y="764"/>
                  <a:pt x="5995" y="0"/>
                  <a:pt x="4702" y="0"/>
                </a:cubicBezTo>
                <a:cubicBezTo>
                  <a:pt x="3408" y="0"/>
                  <a:pt x="2217" y="764"/>
                  <a:pt x="1335" y="2160"/>
                </a:cubicBezTo>
                <a:cubicBezTo>
                  <a:pt x="924" y="2825"/>
                  <a:pt x="575" y="3622"/>
                  <a:pt x="349" y="4486"/>
                </a:cubicBezTo>
                <a:cubicBezTo>
                  <a:pt x="103" y="5383"/>
                  <a:pt x="0" y="6347"/>
                  <a:pt x="0" y="7377"/>
                </a:cubicBezTo>
                <a:cubicBezTo>
                  <a:pt x="0" y="7410"/>
                  <a:pt x="0" y="7410"/>
                  <a:pt x="0" y="7410"/>
                </a:cubicBezTo>
                <a:cubicBezTo>
                  <a:pt x="0" y="9371"/>
                  <a:pt x="472" y="11232"/>
                  <a:pt x="1335" y="12594"/>
                </a:cubicBezTo>
                <a:cubicBezTo>
                  <a:pt x="2197" y="13957"/>
                  <a:pt x="3408" y="14721"/>
                  <a:pt x="4681" y="14721"/>
                </a:cubicBezTo>
                <a:cubicBezTo>
                  <a:pt x="5831" y="14721"/>
                  <a:pt x="6899" y="14123"/>
                  <a:pt x="7741" y="13026"/>
                </a:cubicBezTo>
                <a:cubicBezTo>
                  <a:pt x="7741" y="21600"/>
                  <a:pt x="7741" y="21600"/>
                  <a:pt x="7741" y="21600"/>
                </a:cubicBezTo>
                <a:cubicBezTo>
                  <a:pt x="10307" y="21600"/>
                  <a:pt x="10307" y="21600"/>
                  <a:pt x="10307" y="21600"/>
                </a:cubicBezTo>
                <a:cubicBezTo>
                  <a:pt x="10307" y="16782"/>
                  <a:pt x="10307" y="16782"/>
                  <a:pt x="10307" y="16782"/>
                </a:cubicBezTo>
                <a:cubicBezTo>
                  <a:pt x="11909" y="20470"/>
                  <a:pt x="11909" y="20470"/>
                  <a:pt x="11909" y="20470"/>
                </a:cubicBezTo>
                <a:cubicBezTo>
                  <a:pt x="13449" y="16782"/>
                  <a:pt x="13449" y="16782"/>
                  <a:pt x="13449" y="16782"/>
                </a:cubicBezTo>
                <a:cubicBezTo>
                  <a:pt x="13449" y="21600"/>
                  <a:pt x="13449" y="21600"/>
                  <a:pt x="13449" y="21600"/>
                </a:cubicBezTo>
                <a:cubicBezTo>
                  <a:pt x="16015" y="21600"/>
                  <a:pt x="16015" y="21600"/>
                  <a:pt x="16015" y="21600"/>
                </a:cubicBezTo>
                <a:cubicBezTo>
                  <a:pt x="16015" y="14954"/>
                  <a:pt x="16015" y="14954"/>
                  <a:pt x="16015" y="14954"/>
                </a:cubicBezTo>
                <a:cubicBezTo>
                  <a:pt x="18171" y="14954"/>
                  <a:pt x="18171" y="14954"/>
                  <a:pt x="18171" y="14954"/>
                </a:cubicBezTo>
                <a:cubicBezTo>
                  <a:pt x="20409" y="14954"/>
                  <a:pt x="21600" y="12927"/>
                  <a:pt x="21600" y="10235"/>
                </a:cubicBezTo>
                <a:lnTo>
                  <a:pt x="21600" y="10102"/>
                </a:lnTo>
                <a:close/>
                <a:moveTo>
                  <a:pt x="6180" y="7410"/>
                </a:moveTo>
                <a:cubicBezTo>
                  <a:pt x="6180" y="8673"/>
                  <a:pt x="5667" y="9903"/>
                  <a:pt x="4702" y="9903"/>
                </a:cubicBezTo>
                <a:cubicBezTo>
                  <a:pt x="3716" y="9903"/>
                  <a:pt x="3183" y="8673"/>
                  <a:pt x="3183" y="7377"/>
                </a:cubicBezTo>
                <a:cubicBezTo>
                  <a:pt x="3183" y="7311"/>
                  <a:pt x="3183" y="7311"/>
                  <a:pt x="3183" y="7311"/>
                </a:cubicBezTo>
                <a:cubicBezTo>
                  <a:pt x="3183" y="6048"/>
                  <a:pt x="3696" y="4785"/>
                  <a:pt x="4681" y="4785"/>
                </a:cubicBezTo>
                <a:cubicBezTo>
                  <a:pt x="5667" y="4785"/>
                  <a:pt x="6180" y="6015"/>
                  <a:pt x="6180" y="7377"/>
                </a:cubicBezTo>
                <a:lnTo>
                  <a:pt x="6180" y="7410"/>
                </a:lnTo>
                <a:close/>
                <a:moveTo>
                  <a:pt x="19629" y="10202"/>
                </a:moveTo>
                <a:cubicBezTo>
                  <a:pt x="19629" y="11365"/>
                  <a:pt x="19054" y="11863"/>
                  <a:pt x="18397" y="11863"/>
                </a:cubicBezTo>
                <a:cubicBezTo>
                  <a:pt x="18027" y="11863"/>
                  <a:pt x="18027" y="11863"/>
                  <a:pt x="18027" y="11863"/>
                </a:cubicBezTo>
                <a:cubicBezTo>
                  <a:pt x="18027" y="8507"/>
                  <a:pt x="18027" y="8507"/>
                  <a:pt x="18027" y="8507"/>
                </a:cubicBezTo>
                <a:cubicBezTo>
                  <a:pt x="18397" y="8507"/>
                  <a:pt x="18397" y="8507"/>
                  <a:pt x="18397" y="8507"/>
                </a:cubicBezTo>
                <a:cubicBezTo>
                  <a:pt x="19054" y="8507"/>
                  <a:pt x="19629" y="9039"/>
                  <a:pt x="19629" y="10169"/>
                </a:cubicBezTo>
                <a:lnTo>
                  <a:pt x="19629" y="1020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61094" tIns="61094" rIns="61094" bIns="61094"/>
          <a:lstStyle/>
          <a:p>
            <a:pPr marL="0" marR="0" lvl="0" indent="0" defTabSz="7822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D1D1D"/>
                </a:solidFill>
              </a:defRPr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 Regular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FC97E1-7535-7943-8438-B827BF929E86}"/>
              </a:ext>
            </a:extLst>
          </p:cNvPr>
          <p:cNvSpPr txBox="1"/>
          <p:nvPr/>
        </p:nvSpPr>
        <p:spPr>
          <a:xfrm>
            <a:off x="-795130" y="954157"/>
            <a:ext cx="0" cy="0"/>
          </a:xfrm>
          <a:prstGeom prst="rect">
            <a:avLst/>
          </a:prstGeom>
          <a:noFill/>
        </p:spPr>
        <p:txBody>
          <a:bodyPr wrap="none" lIns="18000" tIns="18000" rIns="18000" bIns="18000" rtlCol="0">
            <a:noAutofit/>
          </a:bodyPr>
          <a:lstStyle/>
          <a:p>
            <a:pPr algn="l"/>
            <a:endParaRPr lang="en-US" sz="1400" b="0" i="0" err="1">
              <a:latin typeface="Arial Regular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C4C7FC5-78F5-5F40-BA5D-73940C0303F6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93813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 [1]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452439"/>
            <a:ext cx="5472112" cy="5964236"/>
          </a:xfrm>
        </p:spPr>
        <p:txBody>
          <a:bodyPr anchor="b">
            <a:noAutofit/>
          </a:bodyPr>
          <a:lstStyle>
            <a:lvl1pPr>
              <a:defRPr sz="4400" b="1" i="0" spc="-1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F8663D9-6175-D24D-8681-15495B5EB30F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185441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Green [2]">
    <p:bg>
      <p:bgPr>
        <a:solidFill>
          <a:srgbClr val="2288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09614B61-DA2B-8A4A-98F9-FE49347CA82D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578041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58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[1]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E282BA5C-56E0-BE46-9D23-87AC872743C6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39334603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[2]">
    <p:bg>
      <p:bgPr>
        <a:solidFill>
          <a:srgbClr val="004EA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7A00FAC3-AB4A-3B4B-9E2A-E39EC89FB9FB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EFD664-4D1B-5C44-8E6B-48E28204C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320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urple [1]">
    <p:bg>
      <p:bgPr>
        <a:solidFill>
          <a:srgbClr val="E3008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A5E952D9-9903-5943-B893-75BA448FB4ED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BFBE3BA-23D8-5847-9854-93D289F1E5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60197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urple [2]">
    <p:bg>
      <p:bgPr>
        <a:solidFill>
          <a:srgbClr val="87027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C982CDFB-2967-D341-AD39-37CF180F7BFD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8820093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range [1]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400B40AA-23B3-5D4C-B4D8-6574E79DF932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8125228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range [2]">
    <p:bg>
      <p:bgPr>
        <a:solidFill>
          <a:srgbClr val="FF7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A29DCE45-6DF6-6A44-B714-AAF7077C64BE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384097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52439"/>
            <a:ext cx="5472113" cy="5964236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400" b="1" spc="-1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9AC29429-356D-7245-B3B9-9CC250DAF6EB}"/>
              </a:ext>
            </a:extLst>
          </p:cNvPr>
          <p:cNvSpPr/>
          <p:nvPr/>
        </p:nvSpPr>
        <p:spPr>
          <a:xfrm>
            <a:off x="6066835" y="0"/>
            <a:ext cx="6125164" cy="4959458"/>
          </a:xfrm>
          <a:custGeom>
            <a:avLst/>
            <a:gdLst>
              <a:gd name="connsiteX0" fmla="*/ 4234083 w 7345360"/>
              <a:gd name="connsiteY0" fmla="*/ 275408 h 5947434"/>
              <a:gd name="connsiteX1" fmla="*/ 2816239 w 7345360"/>
              <a:gd name="connsiteY1" fmla="*/ 1693901 h 5947434"/>
              <a:gd name="connsiteX2" fmla="*/ 4234083 w 7345360"/>
              <a:gd name="connsiteY2" fmla="*/ 3131194 h 5947434"/>
              <a:gd name="connsiteX3" fmla="*/ 5672025 w 7345360"/>
              <a:gd name="connsiteY3" fmla="*/ 1693901 h 5947434"/>
              <a:gd name="connsiteX4" fmla="*/ 4234083 w 7345360"/>
              <a:gd name="connsiteY4" fmla="*/ 275408 h 5947434"/>
              <a:gd name="connsiteX5" fmla="*/ 357815 w 7345360"/>
              <a:gd name="connsiteY5" fmla="*/ 0 h 5947434"/>
              <a:gd name="connsiteX6" fmla="*/ 7345360 w 7345360"/>
              <a:gd name="connsiteY6" fmla="*/ 0 h 5947434"/>
              <a:gd name="connsiteX7" fmla="*/ 7345360 w 7345360"/>
              <a:gd name="connsiteY7" fmla="*/ 4588257 h 5947434"/>
              <a:gd name="connsiteX8" fmla="*/ 7242221 w 7345360"/>
              <a:gd name="connsiteY8" fmla="*/ 4701715 h 5947434"/>
              <a:gd name="connsiteX9" fmla="*/ 4234083 w 7345360"/>
              <a:gd name="connsiteY9" fmla="*/ 5947434 h 5947434"/>
              <a:gd name="connsiteX10" fmla="*/ 0 w 7345360"/>
              <a:gd name="connsiteY10" fmla="*/ 1693901 h 5947434"/>
              <a:gd name="connsiteX11" fmla="*/ 334009 w 7345360"/>
              <a:gd name="connsiteY11" fmla="*/ 49251 h 594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345360" h="5947434">
                <a:moveTo>
                  <a:pt x="4234083" y="275408"/>
                </a:moveTo>
                <a:cubicBezTo>
                  <a:pt x="3464544" y="275408"/>
                  <a:pt x="2816239" y="923713"/>
                  <a:pt x="2816239" y="1693901"/>
                </a:cubicBezTo>
                <a:cubicBezTo>
                  <a:pt x="2816239" y="2482889"/>
                  <a:pt x="3464544" y="3131194"/>
                  <a:pt x="4234083" y="3131194"/>
                </a:cubicBezTo>
                <a:cubicBezTo>
                  <a:pt x="5023720" y="3131194"/>
                  <a:pt x="5672025" y="2482889"/>
                  <a:pt x="5672025" y="1693901"/>
                </a:cubicBezTo>
                <a:cubicBezTo>
                  <a:pt x="5672025" y="923713"/>
                  <a:pt x="5023720" y="275408"/>
                  <a:pt x="4234083" y="275408"/>
                </a:cubicBezTo>
                <a:close/>
                <a:moveTo>
                  <a:pt x="357815" y="0"/>
                </a:moveTo>
                <a:lnTo>
                  <a:pt x="7345360" y="0"/>
                </a:lnTo>
                <a:lnTo>
                  <a:pt x="7345360" y="4588257"/>
                </a:lnTo>
                <a:lnTo>
                  <a:pt x="7242221" y="4701715"/>
                </a:lnTo>
                <a:cubicBezTo>
                  <a:pt x="6472358" y="5471416"/>
                  <a:pt x="5408813" y="5947434"/>
                  <a:pt x="4234083" y="5947434"/>
                </a:cubicBezTo>
                <a:cubicBezTo>
                  <a:pt x="1904721" y="5947434"/>
                  <a:pt x="0" y="4043360"/>
                  <a:pt x="0" y="1693901"/>
                </a:cubicBezTo>
                <a:cubicBezTo>
                  <a:pt x="0" y="1111398"/>
                  <a:pt x="119045" y="555476"/>
                  <a:pt x="334009" y="4925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b="0" i="0" err="1">
              <a:solidFill>
                <a:schemeClr val="tx2"/>
              </a:solidFill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1560853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E2880A0-C2B1-B84E-B783-8356997E45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CA5EC45-A7F5-F445-8C10-55FC6858E5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388749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E2880A0-C2B1-B84E-B783-8356997E45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CA5EC45-A7F5-F445-8C10-55FC6858E5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7" name="Freeform 27">
            <a:extLst>
              <a:ext uri="{FF2B5EF4-FFF2-40B4-BE49-F238E27FC236}">
                <a16:creationId xmlns:a16="http://schemas.microsoft.com/office/drawing/2014/main" id="{A025A021-132D-0A46-82D1-417142A3447D}"/>
              </a:ext>
            </a:extLst>
          </p:cNvPr>
          <p:cNvSpPr/>
          <p:nvPr/>
        </p:nvSpPr>
        <p:spPr>
          <a:xfrm>
            <a:off x="11575088" y="229719"/>
            <a:ext cx="342372" cy="211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102"/>
                </a:moveTo>
                <a:cubicBezTo>
                  <a:pt x="21600" y="7710"/>
                  <a:pt x="20450" y="5516"/>
                  <a:pt x="18233" y="5516"/>
                </a:cubicBezTo>
                <a:cubicBezTo>
                  <a:pt x="15995" y="5516"/>
                  <a:pt x="15995" y="5516"/>
                  <a:pt x="15995" y="5516"/>
                </a:cubicBezTo>
                <a:cubicBezTo>
                  <a:pt x="15995" y="9836"/>
                  <a:pt x="15995" y="9836"/>
                  <a:pt x="15995" y="9836"/>
                </a:cubicBezTo>
                <a:cubicBezTo>
                  <a:pt x="13079" y="9836"/>
                  <a:pt x="13079" y="9836"/>
                  <a:pt x="13079" y="9836"/>
                </a:cubicBezTo>
                <a:cubicBezTo>
                  <a:pt x="11909" y="13359"/>
                  <a:pt x="11909" y="13359"/>
                  <a:pt x="11909" y="13359"/>
                </a:cubicBezTo>
                <a:cubicBezTo>
                  <a:pt x="10677" y="9836"/>
                  <a:pt x="10677" y="9836"/>
                  <a:pt x="10677" y="9836"/>
                </a:cubicBezTo>
                <a:cubicBezTo>
                  <a:pt x="9116" y="9836"/>
                  <a:pt x="9116" y="9836"/>
                  <a:pt x="9116" y="9836"/>
                </a:cubicBezTo>
                <a:cubicBezTo>
                  <a:pt x="9301" y="9039"/>
                  <a:pt x="9383" y="8208"/>
                  <a:pt x="9383" y="7377"/>
                </a:cubicBezTo>
                <a:cubicBezTo>
                  <a:pt x="9383" y="7311"/>
                  <a:pt x="9383" y="7311"/>
                  <a:pt x="9383" y="7311"/>
                </a:cubicBezTo>
                <a:cubicBezTo>
                  <a:pt x="9383" y="5350"/>
                  <a:pt x="8911" y="3489"/>
                  <a:pt x="8049" y="2127"/>
                </a:cubicBezTo>
                <a:cubicBezTo>
                  <a:pt x="7166" y="764"/>
                  <a:pt x="5995" y="0"/>
                  <a:pt x="4702" y="0"/>
                </a:cubicBezTo>
                <a:cubicBezTo>
                  <a:pt x="3408" y="0"/>
                  <a:pt x="2217" y="764"/>
                  <a:pt x="1335" y="2160"/>
                </a:cubicBezTo>
                <a:cubicBezTo>
                  <a:pt x="924" y="2825"/>
                  <a:pt x="575" y="3622"/>
                  <a:pt x="349" y="4486"/>
                </a:cubicBezTo>
                <a:cubicBezTo>
                  <a:pt x="103" y="5383"/>
                  <a:pt x="0" y="6347"/>
                  <a:pt x="0" y="7377"/>
                </a:cubicBezTo>
                <a:cubicBezTo>
                  <a:pt x="0" y="7410"/>
                  <a:pt x="0" y="7410"/>
                  <a:pt x="0" y="7410"/>
                </a:cubicBezTo>
                <a:cubicBezTo>
                  <a:pt x="0" y="9371"/>
                  <a:pt x="472" y="11232"/>
                  <a:pt x="1335" y="12594"/>
                </a:cubicBezTo>
                <a:cubicBezTo>
                  <a:pt x="2197" y="13957"/>
                  <a:pt x="3408" y="14721"/>
                  <a:pt x="4681" y="14721"/>
                </a:cubicBezTo>
                <a:cubicBezTo>
                  <a:pt x="5831" y="14721"/>
                  <a:pt x="6899" y="14123"/>
                  <a:pt x="7741" y="13026"/>
                </a:cubicBezTo>
                <a:cubicBezTo>
                  <a:pt x="7741" y="21600"/>
                  <a:pt x="7741" y="21600"/>
                  <a:pt x="7741" y="21600"/>
                </a:cubicBezTo>
                <a:cubicBezTo>
                  <a:pt x="10307" y="21600"/>
                  <a:pt x="10307" y="21600"/>
                  <a:pt x="10307" y="21600"/>
                </a:cubicBezTo>
                <a:cubicBezTo>
                  <a:pt x="10307" y="16782"/>
                  <a:pt x="10307" y="16782"/>
                  <a:pt x="10307" y="16782"/>
                </a:cubicBezTo>
                <a:cubicBezTo>
                  <a:pt x="11909" y="20470"/>
                  <a:pt x="11909" y="20470"/>
                  <a:pt x="11909" y="20470"/>
                </a:cubicBezTo>
                <a:cubicBezTo>
                  <a:pt x="13449" y="16782"/>
                  <a:pt x="13449" y="16782"/>
                  <a:pt x="13449" y="16782"/>
                </a:cubicBezTo>
                <a:cubicBezTo>
                  <a:pt x="13449" y="21600"/>
                  <a:pt x="13449" y="21600"/>
                  <a:pt x="13449" y="21600"/>
                </a:cubicBezTo>
                <a:cubicBezTo>
                  <a:pt x="16015" y="21600"/>
                  <a:pt x="16015" y="21600"/>
                  <a:pt x="16015" y="21600"/>
                </a:cubicBezTo>
                <a:cubicBezTo>
                  <a:pt x="16015" y="14954"/>
                  <a:pt x="16015" y="14954"/>
                  <a:pt x="16015" y="14954"/>
                </a:cubicBezTo>
                <a:cubicBezTo>
                  <a:pt x="18171" y="14954"/>
                  <a:pt x="18171" y="14954"/>
                  <a:pt x="18171" y="14954"/>
                </a:cubicBezTo>
                <a:cubicBezTo>
                  <a:pt x="20409" y="14954"/>
                  <a:pt x="21600" y="12927"/>
                  <a:pt x="21600" y="10235"/>
                </a:cubicBezTo>
                <a:lnTo>
                  <a:pt x="21600" y="10102"/>
                </a:lnTo>
                <a:close/>
                <a:moveTo>
                  <a:pt x="6180" y="7410"/>
                </a:moveTo>
                <a:cubicBezTo>
                  <a:pt x="6180" y="8673"/>
                  <a:pt x="5667" y="9903"/>
                  <a:pt x="4702" y="9903"/>
                </a:cubicBezTo>
                <a:cubicBezTo>
                  <a:pt x="3716" y="9903"/>
                  <a:pt x="3183" y="8673"/>
                  <a:pt x="3183" y="7377"/>
                </a:cubicBezTo>
                <a:cubicBezTo>
                  <a:pt x="3183" y="7311"/>
                  <a:pt x="3183" y="7311"/>
                  <a:pt x="3183" y="7311"/>
                </a:cubicBezTo>
                <a:cubicBezTo>
                  <a:pt x="3183" y="6048"/>
                  <a:pt x="3696" y="4785"/>
                  <a:pt x="4681" y="4785"/>
                </a:cubicBezTo>
                <a:cubicBezTo>
                  <a:pt x="5667" y="4785"/>
                  <a:pt x="6180" y="6015"/>
                  <a:pt x="6180" y="7377"/>
                </a:cubicBezTo>
                <a:lnTo>
                  <a:pt x="6180" y="7410"/>
                </a:lnTo>
                <a:close/>
                <a:moveTo>
                  <a:pt x="19629" y="10202"/>
                </a:moveTo>
                <a:cubicBezTo>
                  <a:pt x="19629" y="11365"/>
                  <a:pt x="19054" y="11863"/>
                  <a:pt x="18397" y="11863"/>
                </a:cubicBezTo>
                <a:cubicBezTo>
                  <a:pt x="18027" y="11863"/>
                  <a:pt x="18027" y="11863"/>
                  <a:pt x="18027" y="11863"/>
                </a:cubicBezTo>
                <a:cubicBezTo>
                  <a:pt x="18027" y="8507"/>
                  <a:pt x="18027" y="8507"/>
                  <a:pt x="18027" y="8507"/>
                </a:cubicBezTo>
                <a:cubicBezTo>
                  <a:pt x="18397" y="8507"/>
                  <a:pt x="18397" y="8507"/>
                  <a:pt x="18397" y="8507"/>
                </a:cubicBezTo>
                <a:cubicBezTo>
                  <a:pt x="19054" y="8507"/>
                  <a:pt x="19629" y="9039"/>
                  <a:pt x="19629" y="10169"/>
                </a:cubicBezTo>
                <a:lnTo>
                  <a:pt x="19629" y="1020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61094" tIns="61094" rIns="61094" bIns="61094"/>
          <a:lstStyle/>
          <a:p>
            <a:pPr marL="0" marR="0" lvl="0" indent="0" defTabSz="7822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D1D1D"/>
                </a:solidFill>
              </a:defRPr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 Regular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6CBFD3-2D55-774D-9912-5DCC740A6F0B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864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ubtitle and 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885263"/>
            <a:ext cx="10944224" cy="4135528"/>
          </a:xfr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3027C36-99A2-5C4E-AF8F-9D7F22597F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471" y="1395211"/>
            <a:ext cx="10944634" cy="525676"/>
          </a:xfrm>
        </p:spPr>
        <p:txBody>
          <a:bodyPr lIns="0" tIns="0" rIns="0" bIns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Subtitle styles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14CD3A-0F60-AE4E-8723-FD8A51E408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BCB451FA-1FEF-7F4A-A1CD-B2832383CA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208208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958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9" y="1423833"/>
            <a:ext cx="10944224" cy="4596957"/>
          </a:xfr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0DE36-8818-E14D-A5B5-B94ACAF02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F5D452A7-4C36-1347-AC6E-10DABDEE1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302678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ss 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368425"/>
            <a:ext cx="7235825" cy="4652366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0DE36-8818-E14D-A5B5-B94ACAF02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F5D452A7-4C36-1347-AC6E-10DABDEE1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785566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less 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368425"/>
            <a:ext cx="7235825" cy="4652366"/>
          </a:xfrm>
        </p:spPr>
        <p:txBody>
          <a:bodyPr>
            <a:noAutofit/>
          </a:bodyPr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0DE36-8818-E14D-A5B5-B94ACAF02D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F5D452A7-4C36-1347-AC6E-10DABDEE1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10001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7" y="1368425"/>
            <a:ext cx="3527426" cy="4652366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E5F841F-CBD9-E94C-B33B-69797CE7E3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32287" y="1368425"/>
            <a:ext cx="3527425" cy="4652366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A75AD8A-A487-8441-B0CB-FAFE8E4FA1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0685" y="1368425"/>
            <a:ext cx="3527425" cy="4652366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A3C38F7-4483-E841-9B92-F6AE4B8EA5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E963AF88-704D-244F-A72A-29CA3B0D0F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8865902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ur Team (10)</a:t>
            </a:r>
            <a:endParaRPr lang="en-GB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D75A9FCF-6440-874F-8EF1-2483B264251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475358" y="3305433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F3920FF4-1652-1149-9CBB-C8D80D74B9C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154189" y="3305546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BA383F63-46B1-2347-A355-A79BF9C3392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96526" y="3305433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69B6669D-DC49-1945-A703-F0FFDBAABB4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833020" y="3305433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3F4167DA-A4B0-CA42-B802-C5B9324EAD8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11851" y="3305546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6F0A0405-599B-6649-98D7-2718A38304D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7674492" y="1436636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0B333E79-4F63-904B-95FE-9432A53C0A9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475358" y="3024288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6BDD5DD4-2711-2F4D-ABC2-3AE3879B7D1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353323" y="1436749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3F5BD46-3482-CF44-BADB-357205A7F54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154189" y="3024401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1" name="Picture Placeholder 3">
            <a:extLst>
              <a:ext uri="{FF2B5EF4-FFF2-40B4-BE49-F238E27FC236}">
                <a16:creationId xmlns:a16="http://schemas.microsoft.com/office/drawing/2014/main" id="{B4D9B30E-32A6-CC40-8194-2702B449A60C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9995660" y="1436636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61DF7D1F-640E-624A-90EE-69652C7B54C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796526" y="3024288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C36F8B27-C69B-1947-AC61-EA78AC2CDFB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032154" y="1436636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AD4187FC-7DF2-1944-988D-EDC0B57939A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833020" y="3024288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5" name="Picture Placeholder 3">
            <a:extLst>
              <a:ext uri="{FF2B5EF4-FFF2-40B4-BE49-F238E27FC236}">
                <a16:creationId xmlns:a16="http://schemas.microsoft.com/office/drawing/2014/main" id="{4CE7191B-78E0-E94F-977E-C2265AC3CA19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710985" y="1436749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385D2C13-C077-234F-AA7C-1821E9C9015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511851" y="3024401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1AE6F372-1BDD-BF46-99A1-1A01658C609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475358" y="5616295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8FE5A593-E5E2-1A4A-AB70-9007E3EE5BF1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5154189" y="5616408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08E082D1-905D-EA42-8235-8BA85526470F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9796526" y="5616295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7BCF7B60-D550-0648-8C6B-A6B6B4CE14B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2833020" y="5616295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1" name="Text Placeholder 7">
            <a:extLst>
              <a:ext uri="{FF2B5EF4-FFF2-40B4-BE49-F238E27FC236}">
                <a16:creationId xmlns:a16="http://schemas.microsoft.com/office/drawing/2014/main" id="{A19A84C6-3D02-6E45-91A1-BEDE4E68A1B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511851" y="5616408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2" name="Picture Placeholder 3">
            <a:extLst>
              <a:ext uri="{FF2B5EF4-FFF2-40B4-BE49-F238E27FC236}">
                <a16:creationId xmlns:a16="http://schemas.microsoft.com/office/drawing/2014/main" id="{C0F99755-333E-0440-9C3D-20CB166CB86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7674492" y="3747498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37A23577-F3C5-6D49-BB66-B977944997BB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7475358" y="5335150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74" name="Picture Placeholder 3">
            <a:extLst>
              <a:ext uri="{FF2B5EF4-FFF2-40B4-BE49-F238E27FC236}">
                <a16:creationId xmlns:a16="http://schemas.microsoft.com/office/drawing/2014/main" id="{85AA5070-E35C-4546-BE24-63677E4C35EB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5353323" y="3747611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B7662685-8039-D940-A02C-40CF0F5EA90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5154189" y="5335263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76" name="Picture Placeholder 3">
            <a:extLst>
              <a:ext uri="{FF2B5EF4-FFF2-40B4-BE49-F238E27FC236}">
                <a16:creationId xmlns:a16="http://schemas.microsoft.com/office/drawing/2014/main" id="{190AB35D-C630-BD4A-8E00-CA7C285B83D6}"/>
              </a:ext>
            </a:extLst>
          </p:cNvPr>
          <p:cNvSpPr>
            <a:spLocks noGrp="1"/>
          </p:cNvSpPr>
          <p:nvPr>
            <p:ph type="pic" sz="quarter" idx="86" hasCustomPrompt="1"/>
          </p:nvPr>
        </p:nvSpPr>
        <p:spPr>
          <a:xfrm>
            <a:off x="9995660" y="3747498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7" name="Text Placeholder 7">
            <a:extLst>
              <a:ext uri="{FF2B5EF4-FFF2-40B4-BE49-F238E27FC236}">
                <a16:creationId xmlns:a16="http://schemas.microsoft.com/office/drawing/2014/main" id="{6BD2A8ED-B49D-F54E-859C-38251D7DD20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9796526" y="5335150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78" name="Picture Placeholder 3">
            <a:extLst>
              <a:ext uri="{FF2B5EF4-FFF2-40B4-BE49-F238E27FC236}">
                <a16:creationId xmlns:a16="http://schemas.microsoft.com/office/drawing/2014/main" id="{44CFBB14-11F1-D742-909F-0712E7A2995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3032154" y="3747498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E45B53C2-D316-C642-8171-1AC400A60D8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833020" y="5335150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80" name="Picture Placeholder 3">
            <a:extLst>
              <a:ext uri="{FF2B5EF4-FFF2-40B4-BE49-F238E27FC236}">
                <a16:creationId xmlns:a16="http://schemas.microsoft.com/office/drawing/2014/main" id="{EE61B0E1-1848-4D45-B563-EC387882E837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710985" y="3747611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DB88C658-67E2-7D4D-95DB-1DDEE4BCEE7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511851" y="5335263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473145E2-7C73-EA45-A798-4FE1DF4CD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6" name="Footer Placeholder 2">
            <a:extLst>
              <a:ext uri="{FF2B5EF4-FFF2-40B4-BE49-F238E27FC236}">
                <a16:creationId xmlns:a16="http://schemas.microsoft.com/office/drawing/2014/main" id="{E4E702F1-30F6-6749-81C8-EFC91CB998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179460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r Team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Our Team (8)</a:t>
            </a:r>
            <a:endParaRPr lang="en-GB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D75A9FCF-6440-874F-8EF1-2483B264251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088133" y="3305433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F3920FF4-1652-1149-9CBB-C8D80D74B9C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443702" y="3305546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69B6669D-DC49-1945-A703-F0FFDBAABB4C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799271" y="3305433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3F4167DA-A4B0-CA42-B802-C5B9324EAD8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1154840" y="3305546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42" name="Picture Placeholder 3">
            <a:extLst>
              <a:ext uri="{FF2B5EF4-FFF2-40B4-BE49-F238E27FC236}">
                <a16:creationId xmlns:a16="http://schemas.microsoft.com/office/drawing/2014/main" id="{6F0A0405-599B-6649-98D7-2718A38304D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9287267" y="1436636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0B333E79-4F63-904B-95FE-9432A53C0A9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088133" y="3024288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49" name="Picture Placeholder 3">
            <a:extLst>
              <a:ext uri="{FF2B5EF4-FFF2-40B4-BE49-F238E27FC236}">
                <a16:creationId xmlns:a16="http://schemas.microsoft.com/office/drawing/2014/main" id="{6BDD5DD4-2711-2F4D-ABC2-3AE3879B7D1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6642836" y="1436749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83F5BD46-3482-CF44-BADB-357205A7F54D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443702" y="3024401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C36F8B27-C69B-1947-AC61-EA78AC2CDFB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3998405" y="1436636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AD4187FC-7DF2-1944-988D-EDC0B57939A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799271" y="3024288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5" name="Picture Placeholder 3">
            <a:extLst>
              <a:ext uri="{FF2B5EF4-FFF2-40B4-BE49-F238E27FC236}">
                <a16:creationId xmlns:a16="http://schemas.microsoft.com/office/drawing/2014/main" id="{4CE7191B-78E0-E94F-977E-C2265AC3CA19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1353974" y="1436749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385D2C13-C077-234F-AA7C-1821E9C90158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1154840" y="3024401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1AE6F372-1BDD-BF46-99A1-1A01658C609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9088133" y="5616295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8FE5A593-E5E2-1A4A-AB70-9007E3EE5BF1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443702" y="5616408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7BCF7B60-D550-0648-8C6B-A6B6B4CE14B1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3799271" y="5616295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1" name="Text Placeholder 7">
            <a:extLst>
              <a:ext uri="{FF2B5EF4-FFF2-40B4-BE49-F238E27FC236}">
                <a16:creationId xmlns:a16="http://schemas.microsoft.com/office/drawing/2014/main" id="{A19A84C6-3D02-6E45-91A1-BEDE4E68A1BF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1154840" y="5616408"/>
            <a:ext cx="1876918" cy="465927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2" name="Picture Placeholder 3">
            <a:extLst>
              <a:ext uri="{FF2B5EF4-FFF2-40B4-BE49-F238E27FC236}">
                <a16:creationId xmlns:a16="http://schemas.microsoft.com/office/drawing/2014/main" id="{C0F99755-333E-0440-9C3D-20CB166CB86A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9287267" y="3747498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37A23577-F3C5-6D49-BB66-B977944997BB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9088133" y="5335150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74" name="Picture Placeholder 3">
            <a:extLst>
              <a:ext uri="{FF2B5EF4-FFF2-40B4-BE49-F238E27FC236}">
                <a16:creationId xmlns:a16="http://schemas.microsoft.com/office/drawing/2014/main" id="{85AA5070-E35C-4546-BE24-63677E4C35EB}"/>
              </a:ext>
            </a:extLst>
          </p:cNvPr>
          <p:cNvSpPr>
            <a:spLocks noGrp="1"/>
          </p:cNvSpPr>
          <p:nvPr>
            <p:ph type="pic" sz="quarter" idx="84" hasCustomPrompt="1"/>
          </p:nvPr>
        </p:nvSpPr>
        <p:spPr>
          <a:xfrm>
            <a:off x="6642836" y="3747611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5" name="Text Placeholder 7">
            <a:extLst>
              <a:ext uri="{FF2B5EF4-FFF2-40B4-BE49-F238E27FC236}">
                <a16:creationId xmlns:a16="http://schemas.microsoft.com/office/drawing/2014/main" id="{B7662685-8039-D940-A02C-40CF0F5EA902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43702" y="5335263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78" name="Picture Placeholder 3">
            <a:extLst>
              <a:ext uri="{FF2B5EF4-FFF2-40B4-BE49-F238E27FC236}">
                <a16:creationId xmlns:a16="http://schemas.microsoft.com/office/drawing/2014/main" id="{44CFBB14-11F1-D742-909F-0712E7A29957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3998405" y="3747498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79" name="Text Placeholder 7">
            <a:extLst>
              <a:ext uri="{FF2B5EF4-FFF2-40B4-BE49-F238E27FC236}">
                <a16:creationId xmlns:a16="http://schemas.microsoft.com/office/drawing/2014/main" id="{E45B53C2-D316-C642-8171-1AC400A60D8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3799271" y="5335150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80" name="Picture Placeholder 3">
            <a:extLst>
              <a:ext uri="{FF2B5EF4-FFF2-40B4-BE49-F238E27FC236}">
                <a16:creationId xmlns:a16="http://schemas.microsoft.com/office/drawing/2014/main" id="{EE61B0E1-1848-4D45-B563-EC387882E837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1353974" y="3747611"/>
            <a:ext cx="1478650" cy="148038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/>
              <a:t>Insert headshot here</a:t>
            </a:r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DB88C658-67E2-7D4D-95DB-1DDEE4BCEE7D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1154840" y="5335263"/>
            <a:ext cx="1876918" cy="361096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Surname 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473145E2-7C73-EA45-A798-4FE1DF4CD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6" name="Footer Placeholder 2">
            <a:extLst>
              <a:ext uri="{FF2B5EF4-FFF2-40B4-BE49-F238E27FC236}">
                <a16:creationId xmlns:a16="http://schemas.microsoft.com/office/drawing/2014/main" id="{E4E702F1-30F6-6749-81C8-EFC91CB998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081565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c mockup [1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88">
            <a:extLst>
              <a:ext uri="{FF2B5EF4-FFF2-40B4-BE49-F238E27FC236}">
                <a16:creationId xmlns:a16="http://schemas.microsoft.com/office/drawing/2014/main" id="{5FC4ACFA-AFC3-1E47-80D6-DBA210E932FA}"/>
              </a:ext>
            </a:extLst>
          </p:cNvPr>
          <p:cNvGrpSpPr>
            <a:grpSpLocks/>
          </p:cNvGrpSpPr>
          <p:nvPr/>
        </p:nvGrpSpPr>
        <p:grpSpPr bwMode="auto">
          <a:xfrm>
            <a:off x="5028185" y="1018572"/>
            <a:ext cx="6022444" cy="5032487"/>
            <a:chOff x="353" y="434"/>
            <a:chExt cx="2549" cy="2130"/>
          </a:xfrm>
        </p:grpSpPr>
        <p:sp>
          <p:nvSpPr>
            <p:cNvPr id="18" name="Freeform 91">
              <a:extLst>
                <a:ext uri="{FF2B5EF4-FFF2-40B4-BE49-F238E27FC236}">
                  <a16:creationId xmlns:a16="http://schemas.microsoft.com/office/drawing/2014/main" id="{717701F9-D9A7-9746-AA1A-D67A982D7D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3" y="434"/>
              <a:ext cx="2549" cy="2130"/>
            </a:xfrm>
            <a:custGeom>
              <a:avLst/>
              <a:gdLst>
                <a:gd name="T0" fmla="*/ 10926 w 11245"/>
                <a:gd name="T1" fmla="*/ 0 h 9397"/>
                <a:gd name="T2" fmla="*/ 317 w 11245"/>
                <a:gd name="T3" fmla="*/ 0 h 9397"/>
                <a:gd name="T4" fmla="*/ 0 w 11245"/>
                <a:gd name="T5" fmla="*/ 318 h 9397"/>
                <a:gd name="T6" fmla="*/ 0 w 11245"/>
                <a:gd name="T7" fmla="*/ 7427 h 9397"/>
                <a:gd name="T8" fmla="*/ 317 w 11245"/>
                <a:gd name="T9" fmla="*/ 7745 h 9397"/>
                <a:gd name="T10" fmla="*/ 4491 w 11245"/>
                <a:gd name="T11" fmla="*/ 7745 h 9397"/>
                <a:gd name="T12" fmla="*/ 4373 w 11245"/>
                <a:gd name="T13" fmla="*/ 8870 h 9397"/>
                <a:gd name="T14" fmla="*/ 4071 w 11245"/>
                <a:gd name="T15" fmla="*/ 9126 h 9397"/>
                <a:gd name="T16" fmla="*/ 3925 w 11245"/>
                <a:gd name="T17" fmla="*/ 9233 h 9397"/>
                <a:gd name="T18" fmla="*/ 3906 w 11245"/>
                <a:gd name="T19" fmla="*/ 9278 h 9397"/>
                <a:gd name="T20" fmla="*/ 3906 w 11245"/>
                <a:gd name="T21" fmla="*/ 9279 h 9397"/>
                <a:gd name="T22" fmla="*/ 3906 w 11245"/>
                <a:gd name="T23" fmla="*/ 9323 h 9397"/>
                <a:gd name="T24" fmla="*/ 3906 w 11245"/>
                <a:gd name="T25" fmla="*/ 9324 h 9397"/>
                <a:gd name="T26" fmla="*/ 3919 w 11245"/>
                <a:gd name="T27" fmla="*/ 9356 h 9397"/>
                <a:gd name="T28" fmla="*/ 4101 w 11245"/>
                <a:gd name="T29" fmla="*/ 9396 h 9397"/>
                <a:gd name="T30" fmla="*/ 7142 w 11245"/>
                <a:gd name="T31" fmla="*/ 9396 h 9397"/>
                <a:gd name="T32" fmla="*/ 7324 w 11245"/>
                <a:gd name="T33" fmla="*/ 9356 h 9397"/>
                <a:gd name="T34" fmla="*/ 7337 w 11245"/>
                <a:gd name="T35" fmla="*/ 9324 h 9397"/>
                <a:gd name="T36" fmla="*/ 7337 w 11245"/>
                <a:gd name="T37" fmla="*/ 9323 h 9397"/>
                <a:gd name="T38" fmla="*/ 7337 w 11245"/>
                <a:gd name="T39" fmla="*/ 9282 h 9397"/>
                <a:gd name="T40" fmla="*/ 7337 w 11245"/>
                <a:gd name="T41" fmla="*/ 9280 h 9397"/>
                <a:gd name="T42" fmla="*/ 7319 w 11245"/>
                <a:gd name="T43" fmla="*/ 9233 h 9397"/>
                <a:gd name="T44" fmla="*/ 7173 w 11245"/>
                <a:gd name="T45" fmla="*/ 9126 h 9397"/>
                <a:gd name="T46" fmla="*/ 6871 w 11245"/>
                <a:gd name="T47" fmla="*/ 8870 h 9397"/>
                <a:gd name="T48" fmla="*/ 6752 w 11245"/>
                <a:gd name="T49" fmla="*/ 7745 h 9397"/>
                <a:gd name="T50" fmla="*/ 10926 w 11245"/>
                <a:gd name="T51" fmla="*/ 7745 h 9397"/>
                <a:gd name="T52" fmla="*/ 11244 w 11245"/>
                <a:gd name="T53" fmla="*/ 7427 h 9397"/>
                <a:gd name="T54" fmla="*/ 11244 w 11245"/>
                <a:gd name="T55" fmla="*/ 318 h 9397"/>
                <a:gd name="T56" fmla="*/ 10926 w 11245"/>
                <a:gd name="T57" fmla="*/ 0 h 9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245" h="9397">
                  <a:moveTo>
                    <a:pt x="10926" y="0"/>
                  </a:moveTo>
                  <a:lnTo>
                    <a:pt x="317" y="0"/>
                  </a:lnTo>
                  <a:cubicBezTo>
                    <a:pt x="142" y="0"/>
                    <a:pt x="0" y="143"/>
                    <a:pt x="0" y="318"/>
                  </a:cubicBezTo>
                  <a:lnTo>
                    <a:pt x="0" y="7427"/>
                  </a:lnTo>
                  <a:cubicBezTo>
                    <a:pt x="0" y="7602"/>
                    <a:pt x="142" y="7745"/>
                    <a:pt x="317" y="7745"/>
                  </a:cubicBezTo>
                  <a:lnTo>
                    <a:pt x="4491" y="7745"/>
                  </a:lnTo>
                  <a:cubicBezTo>
                    <a:pt x="4485" y="7875"/>
                    <a:pt x="4444" y="8658"/>
                    <a:pt x="4373" y="8870"/>
                  </a:cubicBezTo>
                  <a:cubicBezTo>
                    <a:pt x="4346" y="8949"/>
                    <a:pt x="4187" y="9051"/>
                    <a:pt x="4071" y="9126"/>
                  </a:cubicBezTo>
                  <a:cubicBezTo>
                    <a:pt x="4000" y="9172"/>
                    <a:pt x="3944" y="9209"/>
                    <a:pt x="3925" y="9233"/>
                  </a:cubicBezTo>
                  <a:cubicBezTo>
                    <a:pt x="3910" y="9251"/>
                    <a:pt x="3906" y="9266"/>
                    <a:pt x="3906" y="9278"/>
                  </a:cubicBezTo>
                  <a:cubicBezTo>
                    <a:pt x="3906" y="9279"/>
                    <a:pt x="3906" y="9279"/>
                    <a:pt x="3906" y="9279"/>
                  </a:cubicBezTo>
                  <a:lnTo>
                    <a:pt x="3906" y="9323"/>
                  </a:lnTo>
                  <a:lnTo>
                    <a:pt x="3906" y="9324"/>
                  </a:lnTo>
                  <a:cubicBezTo>
                    <a:pt x="3906" y="9336"/>
                    <a:pt x="3910" y="9347"/>
                    <a:pt x="3919" y="9356"/>
                  </a:cubicBezTo>
                  <a:cubicBezTo>
                    <a:pt x="3944" y="9383"/>
                    <a:pt x="4003" y="9396"/>
                    <a:pt x="4101" y="9396"/>
                  </a:cubicBezTo>
                  <a:lnTo>
                    <a:pt x="7142" y="9396"/>
                  </a:lnTo>
                  <a:cubicBezTo>
                    <a:pt x="7240" y="9396"/>
                    <a:pt x="7300" y="9383"/>
                    <a:pt x="7324" y="9356"/>
                  </a:cubicBezTo>
                  <a:cubicBezTo>
                    <a:pt x="7333" y="9347"/>
                    <a:pt x="7337" y="9336"/>
                    <a:pt x="7337" y="9324"/>
                  </a:cubicBezTo>
                  <a:lnTo>
                    <a:pt x="7337" y="9323"/>
                  </a:lnTo>
                  <a:lnTo>
                    <a:pt x="7337" y="9282"/>
                  </a:lnTo>
                  <a:cubicBezTo>
                    <a:pt x="7337" y="9281"/>
                    <a:pt x="7337" y="9281"/>
                    <a:pt x="7337" y="9280"/>
                  </a:cubicBezTo>
                  <a:cubicBezTo>
                    <a:pt x="7338" y="9268"/>
                    <a:pt x="7334" y="9252"/>
                    <a:pt x="7319" y="9233"/>
                  </a:cubicBezTo>
                  <a:cubicBezTo>
                    <a:pt x="7300" y="9209"/>
                    <a:pt x="7244" y="9172"/>
                    <a:pt x="7173" y="9126"/>
                  </a:cubicBezTo>
                  <a:cubicBezTo>
                    <a:pt x="7056" y="9051"/>
                    <a:pt x="6897" y="8949"/>
                    <a:pt x="6871" y="8870"/>
                  </a:cubicBezTo>
                  <a:cubicBezTo>
                    <a:pt x="6799" y="8659"/>
                    <a:pt x="6759" y="7872"/>
                    <a:pt x="6752" y="7745"/>
                  </a:cubicBezTo>
                  <a:lnTo>
                    <a:pt x="10926" y="7745"/>
                  </a:lnTo>
                  <a:cubicBezTo>
                    <a:pt x="11101" y="7745"/>
                    <a:pt x="11244" y="7602"/>
                    <a:pt x="11244" y="7427"/>
                  </a:cubicBezTo>
                  <a:lnTo>
                    <a:pt x="11244" y="318"/>
                  </a:lnTo>
                  <a:cubicBezTo>
                    <a:pt x="11244" y="143"/>
                    <a:pt x="11101" y="0"/>
                    <a:pt x="10926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9" name="Freeform 92">
              <a:extLst>
                <a:ext uri="{FF2B5EF4-FFF2-40B4-BE49-F238E27FC236}">
                  <a16:creationId xmlns:a16="http://schemas.microsoft.com/office/drawing/2014/main" id="{63FF0EF6-AF95-3C4C-B550-91E9C750D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4" y="2547"/>
              <a:ext cx="767" cy="12"/>
            </a:xfrm>
            <a:custGeom>
              <a:avLst/>
              <a:gdLst>
                <a:gd name="T0" fmla="*/ 3385 w 3387"/>
                <a:gd name="T1" fmla="*/ 4 h 57"/>
                <a:gd name="T2" fmla="*/ 3385 w 3387"/>
                <a:gd name="T3" fmla="*/ 6 h 57"/>
                <a:gd name="T4" fmla="*/ 3379 w 3387"/>
                <a:gd name="T5" fmla="*/ 24 h 57"/>
                <a:gd name="T6" fmla="*/ 3213 w 3387"/>
                <a:gd name="T7" fmla="*/ 56 h 57"/>
                <a:gd name="T8" fmla="*/ 172 w 3387"/>
                <a:gd name="T9" fmla="*/ 56 h 57"/>
                <a:gd name="T10" fmla="*/ 7 w 3387"/>
                <a:gd name="T11" fmla="*/ 24 h 57"/>
                <a:gd name="T12" fmla="*/ 0 w 3387"/>
                <a:gd name="T13" fmla="*/ 6 h 57"/>
                <a:gd name="T14" fmla="*/ 0 w 3387"/>
                <a:gd name="T15" fmla="*/ 4 h 57"/>
                <a:gd name="T16" fmla="*/ 0 w 3387"/>
                <a:gd name="T17" fmla="*/ 0 h 57"/>
                <a:gd name="T18" fmla="*/ 172 w 3387"/>
                <a:gd name="T19" fmla="*/ 30 h 57"/>
                <a:gd name="T20" fmla="*/ 3213 w 3387"/>
                <a:gd name="T21" fmla="*/ 30 h 57"/>
                <a:gd name="T22" fmla="*/ 3385 w 3387"/>
                <a:gd name="T23" fmla="*/ 0 h 57"/>
                <a:gd name="T24" fmla="*/ 3385 w 3387"/>
                <a:gd name="T25" fmla="*/ 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87" h="57">
                  <a:moveTo>
                    <a:pt x="3385" y="4"/>
                  </a:moveTo>
                  <a:cubicBezTo>
                    <a:pt x="3385" y="5"/>
                    <a:pt x="3385" y="6"/>
                    <a:pt x="3385" y="6"/>
                  </a:cubicBezTo>
                  <a:cubicBezTo>
                    <a:pt x="3386" y="13"/>
                    <a:pt x="3384" y="19"/>
                    <a:pt x="3379" y="24"/>
                  </a:cubicBezTo>
                  <a:cubicBezTo>
                    <a:pt x="3365" y="38"/>
                    <a:pt x="3325" y="56"/>
                    <a:pt x="3213" y="56"/>
                  </a:cubicBezTo>
                  <a:lnTo>
                    <a:pt x="172" y="56"/>
                  </a:lnTo>
                  <a:cubicBezTo>
                    <a:pt x="60" y="56"/>
                    <a:pt x="20" y="38"/>
                    <a:pt x="7" y="24"/>
                  </a:cubicBezTo>
                  <a:cubicBezTo>
                    <a:pt x="2" y="19"/>
                    <a:pt x="0" y="13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lnTo>
                    <a:pt x="0" y="0"/>
                  </a:lnTo>
                  <a:cubicBezTo>
                    <a:pt x="29" y="20"/>
                    <a:pt x="86" y="30"/>
                    <a:pt x="172" y="30"/>
                  </a:cubicBezTo>
                  <a:lnTo>
                    <a:pt x="3213" y="30"/>
                  </a:lnTo>
                  <a:cubicBezTo>
                    <a:pt x="3300" y="30"/>
                    <a:pt x="3356" y="20"/>
                    <a:pt x="3385" y="0"/>
                  </a:cubicBezTo>
                  <a:lnTo>
                    <a:pt x="3385" y="4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0" name="Freeform 93">
              <a:extLst>
                <a:ext uri="{FF2B5EF4-FFF2-40B4-BE49-F238E27FC236}">
                  <a16:creationId xmlns:a16="http://schemas.microsoft.com/office/drawing/2014/main" id="{EA533E6D-A577-0040-8141-A172860A5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43" y="2452"/>
              <a:ext cx="769" cy="97"/>
            </a:xfrm>
            <a:custGeom>
              <a:avLst/>
              <a:gdLst>
                <a:gd name="T0" fmla="*/ 3235 w 3395"/>
                <a:gd name="T1" fmla="*/ 250 h 431"/>
                <a:gd name="T2" fmla="*/ 3376 w 3395"/>
                <a:gd name="T3" fmla="*/ 352 h 431"/>
                <a:gd name="T4" fmla="*/ 3387 w 3395"/>
                <a:gd name="T5" fmla="*/ 391 h 431"/>
                <a:gd name="T6" fmla="*/ 3217 w 3395"/>
                <a:gd name="T7" fmla="*/ 430 h 431"/>
                <a:gd name="T8" fmla="*/ 176 w 3395"/>
                <a:gd name="T9" fmla="*/ 430 h 431"/>
                <a:gd name="T10" fmla="*/ 6 w 3395"/>
                <a:gd name="T11" fmla="*/ 391 h 431"/>
                <a:gd name="T12" fmla="*/ 17 w 3395"/>
                <a:gd name="T13" fmla="*/ 352 h 431"/>
                <a:gd name="T14" fmla="*/ 158 w 3395"/>
                <a:gd name="T15" fmla="*/ 250 h 431"/>
                <a:gd name="T16" fmla="*/ 462 w 3395"/>
                <a:gd name="T17" fmla="*/ 0 h 431"/>
                <a:gd name="T18" fmla="*/ 2932 w 3395"/>
                <a:gd name="T19" fmla="*/ 0 h 431"/>
                <a:gd name="T20" fmla="*/ 3235 w 3395"/>
                <a:gd name="T21" fmla="*/ 25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95" h="431">
                  <a:moveTo>
                    <a:pt x="3235" y="250"/>
                  </a:moveTo>
                  <a:cubicBezTo>
                    <a:pt x="3302" y="293"/>
                    <a:pt x="3359" y="331"/>
                    <a:pt x="3376" y="352"/>
                  </a:cubicBezTo>
                  <a:cubicBezTo>
                    <a:pt x="3385" y="363"/>
                    <a:pt x="3394" y="378"/>
                    <a:pt x="3387" y="391"/>
                  </a:cubicBezTo>
                  <a:cubicBezTo>
                    <a:pt x="3380" y="405"/>
                    <a:pt x="3349" y="430"/>
                    <a:pt x="3217" y="430"/>
                  </a:cubicBezTo>
                  <a:lnTo>
                    <a:pt x="176" y="430"/>
                  </a:lnTo>
                  <a:cubicBezTo>
                    <a:pt x="45" y="430"/>
                    <a:pt x="13" y="405"/>
                    <a:pt x="6" y="391"/>
                  </a:cubicBezTo>
                  <a:cubicBezTo>
                    <a:pt x="0" y="378"/>
                    <a:pt x="9" y="363"/>
                    <a:pt x="17" y="352"/>
                  </a:cubicBezTo>
                  <a:cubicBezTo>
                    <a:pt x="34" y="331"/>
                    <a:pt x="92" y="293"/>
                    <a:pt x="158" y="250"/>
                  </a:cubicBezTo>
                  <a:cubicBezTo>
                    <a:pt x="276" y="175"/>
                    <a:pt x="419" y="82"/>
                    <a:pt x="462" y="0"/>
                  </a:cubicBezTo>
                  <a:lnTo>
                    <a:pt x="2932" y="0"/>
                  </a:lnTo>
                  <a:cubicBezTo>
                    <a:pt x="2974" y="82"/>
                    <a:pt x="3118" y="175"/>
                    <a:pt x="3235" y="25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>
              <a:solidFill>
                <a:schemeClr val="bg1">
                  <a:lumMod val="85000"/>
                </a:schemeClr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1" name="Freeform 94">
              <a:extLst>
                <a:ext uri="{FF2B5EF4-FFF2-40B4-BE49-F238E27FC236}">
                  <a16:creationId xmlns:a16="http://schemas.microsoft.com/office/drawing/2014/main" id="{F5B0BDBC-EE68-DD4F-A273-C433F5953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50" y="2191"/>
              <a:ext cx="555" cy="255"/>
            </a:xfrm>
            <a:custGeom>
              <a:avLst/>
              <a:gdLst>
                <a:gd name="T0" fmla="*/ 2451 w 2452"/>
                <a:gd name="T1" fmla="*/ 1127 h 1128"/>
                <a:gd name="T2" fmla="*/ 0 w 2452"/>
                <a:gd name="T3" fmla="*/ 1127 h 1128"/>
                <a:gd name="T4" fmla="*/ 118 w 2452"/>
                <a:gd name="T5" fmla="*/ 0 h 1128"/>
                <a:gd name="T6" fmla="*/ 2333 w 2452"/>
                <a:gd name="T7" fmla="*/ 0 h 1128"/>
                <a:gd name="T8" fmla="*/ 2451 w 2452"/>
                <a:gd name="T9" fmla="*/ 1127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2" h="1128">
                  <a:moveTo>
                    <a:pt x="2451" y="1127"/>
                  </a:moveTo>
                  <a:lnTo>
                    <a:pt x="0" y="1127"/>
                  </a:lnTo>
                  <a:cubicBezTo>
                    <a:pt x="72" y="904"/>
                    <a:pt x="112" y="127"/>
                    <a:pt x="118" y="0"/>
                  </a:cubicBezTo>
                  <a:lnTo>
                    <a:pt x="2333" y="0"/>
                  </a:lnTo>
                  <a:cubicBezTo>
                    <a:pt x="2340" y="144"/>
                    <a:pt x="2380" y="905"/>
                    <a:pt x="2451" y="112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2" name="Freeform 95">
              <a:extLst>
                <a:ext uri="{FF2B5EF4-FFF2-40B4-BE49-F238E27FC236}">
                  <a16:creationId xmlns:a16="http://schemas.microsoft.com/office/drawing/2014/main" id="{0FFFEC2C-EC1B-044A-AA43-FAFF36F2A0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" y="1955"/>
              <a:ext cx="2538" cy="230"/>
            </a:xfrm>
            <a:custGeom>
              <a:avLst/>
              <a:gdLst>
                <a:gd name="T0" fmla="*/ 10904 w 11200"/>
                <a:gd name="T1" fmla="*/ 1019 h 1020"/>
                <a:gd name="T2" fmla="*/ 295 w 11200"/>
                <a:gd name="T3" fmla="*/ 1019 h 1020"/>
                <a:gd name="T4" fmla="*/ 0 w 11200"/>
                <a:gd name="T5" fmla="*/ 724 h 1020"/>
                <a:gd name="T6" fmla="*/ 0 w 11200"/>
                <a:gd name="T7" fmla="*/ 0 h 1020"/>
                <a:gd name="T8" fmla="*/ 11199 w 11200"/>
                <a:gd name="T9" fmla="*/ 0 h 1020"/>
                <a:gd name="T10" fmla="*/ 11199 w 11200"/>
                <a:gd name="T11" fmla="*/ 724 h 1020"/>
                <a:gd name="T12" fmla="*/ 10904 w 11200"/>
                <a:gd name="T13" fmla="*/ 1019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0" h="1020">
                  <a:moveTo>
                    <a:pt x="10904" y="1019"/>
                  </a:moveTo>
                  <a:lnTo>
                    <a:pt x="295" y="1019"/>
                  </a:lnTo>
                  <a:cubicBezTo>
                    <a:pt x="133" y="1019"/>
                    <a:pt x="0" y="887"/>
                    <a:pt x="0" y="724"/>
                  </a:cubicBezTo>
                  <a:lnTo>
                    <a:pt x="0" y="0"/>
                  </a:lnTo>
                  <a:lnTo>
                    <a:pt x="11199" y="0"/>
                  </a:lnTo>
                  <a:lnTo>
                    <a:pt x="11199" y="724"/>
                  </a:lnTo>
                  <a:cubicBezTo>
                    <a:pt x="11199" y="887"/>
                    <a:pt x="11067" y="1019"/>
                    <a:pt x="10904" y="1019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3" name="Freeform 96">
              <a:extLst>
                <a:ext uri="{FF2B5EF4-FFF2-40B4-BE49-F238E27FC236}">
                  <a16:creationId xmlns:a16="http://schemas.microsoft.com/office/drawing/2014/main" id="{0D71C480-E989-6F41-8351-38E791AA90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" y="440"/>
              <a:ext cx="2538" cy="1512"/>
            </a:xfrm>
            <a:custGeom>
              <a:avLst/>
              <a:gdLst>
                <a:gd name="T0" fmla="*/ 11199 w 11200"/>
                <a:gd name="T1" fmla="*/ 6657 h 6658"/>
                <a:gd name="T2" fmla="*/ 0 w 11200"/>
                <a:gd name="T3" fmla="*/ 6657 h 6658"/>
                <a:gd name="T4" fmla="*/ 0 w 11200"/>
                <a:gd name="T5" fmla="*/ 295 h 6658"/>
                <a:gd name="T6" fmla="*/ 295 w 11200"/>
                <a:gd name="T7" fmla="*/ 0 h 6658"/>
                <a:gd name="T8" fmla="*/ 10904 w 11200"/>
                <a:gd name="T9" fmla="*/ 0 h 6658"/>
                <a:gd name="T10" fmla="*/ 11199 w 11200"/>
                <a:gd name="T11" fmla="*/ 295 h 6658"/>
                <a:gd name="T12" fmla="*/ 11199 w 11200"/>
                <a:gd name="T13" fmla="*/ 6657 h 6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00" h="6658">
                  <a:moveTo>
                    <a:pt x="11199" y="6657"/>
                  </a:moveTo>
                  <a:lnTo>
                    <a:pt x="0" y="6657"/>
                  </a:lnTo>
                  <a:lnTo>
                    <a:pt x="0" y="295"/>
                  </a:lnTo>
                  <a:cubicBezTo>
                    <a:pt x="0" y="132"/>
                    <a:pt x="133" y="0"/>
                    <a:pt x="295" y="0"/>
                  </a:cubicBezTo>
                  <a:lnTo>
                    <a:pt x="10904" y="0"/>
                  </a:lnTo>
                  <a:cubicBezTo>
                    <a:pt x="11067" y="0"/>
                    <a:pt x="11199" y="132"/>
                    <a:pt x="11199" y="295"/>
                  </a:cubicBezTo>
                  <a:lnTo>
                    <a:pt x="11199" y="6657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4" name="Freeform 97">
              <a:extLst>
                <a:ext uri="{FF2B5EF4-FFF2-40B4-BE49-F238E27FC236}">
                  <a16:creationId xmlns:a16="http://schemas.microsoft.com/office/drawing/2014/main" id="{3E8C2AE2-0D5A-AC4B-A845-053903F666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" y="544"/>
              <a:ext cx="2334" cy="1313"/>
            </a:xfrm>
            <a:custGeom>
              <a:avLst/>
              <a:gdLst>
                <a:gd name="T0" fmla="*/ 10286 w 10298"/>
                <a:gd name="T1" fmla="*/ 5795 h 5796"/>
                <a:gd name="T2" fmla="*/ 12 w 10298"/>
                <a:gd name="T3" fmla="*/ 5795 h 5796"/>
                <a:gd name="T4" fmla="*/ 0 w 10298"/>
                <a:gd name="T5" fmla="*/ 5784 h 5796"/>
                <a:gd name="T6" fmla="*/ 0 w 10298"/>
                <a:gd name="T7" fmla="*/ 11 h 5796"/>
                <a:gd name="T8" fmla="*/ 12 w 10298"/>
                <a:gd name="T9" fmla="*/ 0 h 5796"/>
                <a:gd name="T10" fmla="*/ 10286 w 10298"/>
                <a:gd name="T11" fmla="*/ 0 h 5796"/>
                <a:gd name="T12" fmla="*/ 10297 w 10298"/>
                <a:gd name="T13" fmla="*/ 11 h 5796"/>
                <a:gd name="T14" fmla="*/ 10297 w 10298"/>
                <a:gd name="T15" fmla="*/ 5784 h 5796"/>
                <a:gd name="T16" fmla="*/ 10286 w 10298"/>
                <a:gd name="T17" fmla="*/ 5795 h 5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98" h="5796">
                  <a:moveTo>
                    <a:pt x="10286" y="5795"/>
                  </a:moveTo>
                  <a:lnTo>
                    <a:pt x="12" y="5795"/>
                  </a:lnTo>
                  <a:cubicBezTo>
                    <a:pt x="5" y="5795"/>
                    <a:pt x="0" y="5790"/>
                    <a:pt x="0" y="5784"/>
                  </a:cubicBezTo>
                  <a:lnTo>
                    <a:pt x="0" y="11"/>
                  </a:lnTo>
                  <a:cubicBezTo>
                    <a:pt x="0" y="5"/>
                    <a:pt x="5" y="0"/>
                    <a:pt x="12" y="0"/>
                  </a:cubicBezTo>
                  <a:lnTo>
                    <a:pt x="10286" y="0"/>
                  </a:lnTo>
                  <a:cubicBezTo>
                    <a:pt x="10292" y="0"/>
                    <a:pt x="10297" y="5"/>
                    <a:pt x="10297" y="11"/>
                  </a:cubicBezTo>
                  <a:lnTo>
                    <a:pt x="10297" y="5784"/>
                  </a:lnTo>
                  <a:cubicBezTo>
                    <a:pt x="10297" y="5790"/>
                    <a:pt x="10292" y="5795"/>
                    <a:pt x="10286" y="57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5" name="Freeform 98">
              <a:extLst>
                <a:ext uri="{FF2B5EF4-FFF2-40B4-BE49-F238E27FC236}">
                  <a16:creationId xmlns:a16="http://schemas.microsoft.com/office/drawing/2014/main" id="{08C4AE3E-3731-4B4E-B2AA-D2818B6D42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" y="478"/>
              <a:ext cx="28" cy="28"/>
            </a:xfrm>
            <a:custGeom>
              <a:avLst/>
              <a:gdLst>
                <a:gd name="T0" fmla="*/ 63 w 126"/>
                <a:gd name="T1" fmla="*/ 125 h 126"/>
                <a:gd name="T2" fmla="*/ 0 w 126"/>
                <a:gd name="T3" fmla="*/ 62 h 126"/>
                <a:gd name="T4" fmla="*/ 63 w 126"/>
                <a:gd name="T5" fmla="*/ 0 h 126"/>
                <a:gd name="T6" fmla="*/ 125 w 126"/>
                <a:gd name="T7" fmla="*/ 62 h 126"/>
                <a:gd name="T8" fmla="*/ 63 w 126"/>
                <a:gd name="T9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26">
                  <a:moveTo>
                    <a:pt x="63" y="125"/>
                  </a:moveTo>
                  <a:cubicBezTo>
                    <a:pt x="28" y="125"/>
                    <a:pt x="0" y="97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97" y="0"/>
                    <a:pt x="125" y="28"/>
                    <a:pt x="125" y="62"/>
                  </a:cubicBezTo>
                  <a:cubicBezTo>
                    <a:pt x="125" y="97"/>
                    <a:pt x="97" y="125"/>
                    <a:pt x="63" y="125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6" name="Freeform 99">
              <a:extLst>
                <a:ext uri="{FF2B5EF4-FFF2-40B4-BE49-F238E27FC236}">
                  <a16:creationId xmlns:a16="http://schemas.microsoft.com/office/drawing/2014/main" id="{E5489C06-AADD-5142-9FE8-CE128C212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9" y="483"/>
              <a:ext cx="17" cy="17"/>
            </a:xfrm>
            <a:custGeom>
              <a:avLst/>
              <a:gdLst>
                <a:gd name="T0" fmla="*/ 40 w 80"/>
                <a:gd name="T1" fmla="*/ 0 h 80"/>
                <a:gd name="T2" fmla="*/ 0 w 80"/>
                <a:gd name="T3" fmla="*/ 39 h 80"/>
                <a:gd name="T4" fmla="*/ 40 w 80"/>
                <a:gd name="T5" fmla="*/ 79 h 80"/>
                <a:gd name="T6" fmla="*/ 79 w 80"/>
                <a:gd name="T7" fmla="*/ 39 h 80"/>
                <a:gd name="T8" fmla="*/ 40 w 80"/>
                <a:gd name="T9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" h="80">
                  <a:moveTo>
                    <a:pt x="40" y="0"/>
                  </a:moveTo>
                  <a:cubicBezTo>
                    <a:pt x="18" y="0"/>
                    <a:pt x="0" y="18"/>
                    <a:pt x="0" y="39"/>
                  </a:cubicBezTo>
                  <a:cubicBezTo>
                    <a:pt x="0" y="61"/>
                    <a:pt x="18" y="79"/>
                    <a:pt x="40" y="79"/>
                  </a:cubicBezTo>
                  <a:cubicBezTo>
                    <a:pt x="62" y="79"/>
                    <a:pt x="79" y="61"/>
                    <a:pt x="79" y="39"/>
                  </a:cubicBezTo>
                  <a:cubicBezTo>
                    <a:pt x="79" y="18"/>
                    <a:pt x="62" y="0"/>
                    <a:pt x="40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804" y="362822"/>
            <a:ext cx="3518509" cy="1066952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D33E993-928E-F44D-B587-9D2C78A19744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5280991" y="1275906"/>
            <a:ext cx="5514470" cy="3104746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535605C-4436-724F-A96A-8E806B5E5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56309D4-F8A1-5A42-8CB4-5CF161FAFD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AA604E5-8733-7F4E-A641-ECF457BDCD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368425"/>
            <a:ext cx="3527425" cy="4652366"/>
          </a:xfr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0088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cBook mockup [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805" y="362822"/>
            <a:ext cx="3518086" cy="1066952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228" y="1889754"/>
            <a:ext cx="3518086" cy="4161308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1C35AA8-E116-734F-89EB-E56676178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9875C55-1051-104B-AAC3-0185F33192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grpSp>
        <p:nvGrpSpPr>
          <p:cNvPr id="34" name="Group 101">
            <a:extLst>
              <a:ext uri="{FF2B5EF4-FFF2-40B4-BE49-F238E27FC236}">
                <a16:creationId xmlns:a16="http://schemas.microsoft.com/office/drawing/2014/main" id="{6DB24B84-3B64-524E-AB86-799F8E3C8DFF}"/>
              </a:ext>
            </a:extLst>
          </p:cNvPr>
          <p:cNvGrpSpPr>
            <a:grpSpLocks/>
          </p:cNvGrpSpPr>
          <p:nvPr/>
        </p:nvGrpSpPr>
        <p:grpSpPr bwMode="auto">
          <a:xfrm>
            <a:off x="4962646" y="1119486"/>
            <a:ext cx="8641843" cy="4931573"/>
            <a:chOff x="3231" y="1727"/>
            <a:chExt cx="1677" cy="957"/>
          </a:xfrm>
        </p:grpSpPr>
        <p:sp>
          <p:nvSpPr>
            <p:cNvPr id="35" name="Freeform 102">
              <a:extLst>
                <a:ext uri="{FF2B5EF4-FFF2-40B4-BE49-F238E27FC236}">
                  <a16:creationId xmlns:a16="http://schemas.microsoft.com/office/drawing/2014/main" id="{FD7D9956-FD50-6440-A859-71AD420935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0" y="1727"/>
              <a:ext cx="1359" cy="910"/>
            </a:xfrm>
            <a:custGeom>
              <a:avLst/>
              <a:gdLst>
                <a:gd name="T0" fmla="*/ 0 w 5998"/>
                <a:gd name="T1" fmla="*/ 185 h 4019"/>
                <a:gd name="T2" fmla="*/ 185 w 5998"/>
                <a:gd name="T3" fmla="*/ 0 h 4019"/>
                <a:gd name="T4" fmla="*/ 5812 w 5998"/>
                <a:gd name="T5" fmla="*/ 0 h 4019"/>
                <a:gd name="T6" fmla="*/ 5997 w 5998"/>
                <a:gd name="T7" fmla="*/ 185 h 4019"/>
                <a:gd name="T8" fmla="*/ 5997 w 5998"/>
                <a:gd name="T9" fmla="*/ 4018 h 4019"/>
                <a:gd name="T10" fmla="*/ 3514 w 5998"/>
                <a:gd name="T11" fmla="*/ 4018 h 4019"/>
                <a:gd name="T12" fmla="*/ 2483 w 5998"/>
                <a:gd name="T13" fmla="*/ 4018 h 4019"/>
                <a:gd name="T14" fmla="*/ 0 w 5998"/>
                <a:gd name="T15" fmla="*/ 4018 h 4019"/>
                <a:gd name="T16" fmla="*/ 0 w 5998"/>
                <a:gd name="T17" fmla="*/ 185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98" h="4019">
                  <a:moveTo>
                    <a:pt x="0" y="185"/>
                  </a:moveTo>
                  <a:cubicBezTo>
                    <a:pt x="0" y="83"/>
                    <a:pt x="83" y="0"/>
                    <a:pt x="185" y="0"/>
                  </a:cubicBezTo>
                  <a:lnTo>
                    <a:pt x="5812" y="0"/>
                  </a:lnTo>
                  <a:cubicBezTo>
                    <a:pt x="5914" y="0"/>
                    <a:pt x="5997" y="83"/>
                    <a:pt x="5997" y="185"/>
                  </a:cubicBezTo>
                  <a:lnTo>
                    <a:pt x="5997" y="4018"/>
                  </a:lnTo>
                  <a:lnTo>
                    <a:pt x="3514" y="4018"/>
                  </a:lnTo>
                  <a:lnTo>
                    <a:pt x="2483" y="4018"/>
                  </a:lnTo>
                  <a:lnTo>
                    <a:pt x="0" y="4018"/>
                  </a:lnTo>
                  <a:lnTo>
                    <a:pt x="0" y="18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6" name="Freeform 103">
              <a:extLst>
                <a:ext uri="{FF2B5EF4-FFF2-40B4-BE49-F238E27FC236}">
                  <a16:creationId xmlns:a16="http://schemas.microsoft.com/office/drawing/2014/main" id="{29BF5EB3-BE20-474E-BDDB-F67198EC38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" y="2638"/>
              <a:ext cx="231" cy="13"/>
            </a:xfrm>
            <a:custGeom>
              <a:avLst/>
              <a:gdLst>
                <a:gd name="T0" fmla="*/ 999 w 1000"/>
                <a:gd name="T1" fmla="*/ 0 h 56"/>
                <a:gd name="T2" fmla="*/ 934 w 1000"/>
                <a:gd name="T3" fmla="*/ 55 h 56"/>
                <a:gd name="T4" fmla="*/ 65 w 1000"/>
                <a:gd name="T5" fmla="*/ 55 h 56"/>
                <a:gd name="T6" fmla="*/ 0 w 1000"/>
                <a:gd name="T7" fmla="*/ 0 h 56"/>
                <a:gd name="T8" fmla="*/ 999 w 1000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0" h="56">
                  <a:moveTo>
                    <a:pt x="999" y="0"/>
                  </a:moveTo>
                  <a:cubicBezTo>
                    <a:pt x="994" y="31"/>
                    <a:pt x="966" y="55"/>
                    <a:pt x="934" y="55"/>
                  </a:cubicBezTo>
                  <a:lnTo>
                    <a:pt x="65" y="55"/>
                  </a:lnTo>
                  <a:cubicBezTo>
                    <a:pt x="33" y="55"/>
                    <a:pt x="5" y="31"/>
                    <a:pt x="0" y="0"/>
                  </a:cubicBezTo>
                  <a:lnTo>
                    <a:pt x="999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7" name="Freeform 104">
              <a:extLst>
                <a:ext uri="{FF2B5EF4-FFF2-40B4-BE49-F238E27FC236}">
                  <a16:creationId xmlns:a16="http://schemas.microsoft.com/office/drawing/2014/main" id="{FDD796C2-E9D0-6F44-A84D-295D2EA00F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4" y="2666"/>
              <a:ext cx="1671" cy="18"/>
            </a:xfrm>
            <a:custGeom>
              <a:avLst/>
              <a:gdLst>
                <a:gd name="T0" fmla="*/ 7115 w 7372"/>
                <a:gd name="T1" fmla="*/ 81 h 82"/>
                <a:gd name="T2" fmla="*/ 256 w 7372"/>
                <a:gd name="T3" fmla="*/ 81 h 82"/>
                <a:gd name="T4" fmla="*/ 0 w 7372"/>
                <a:gd name="T5" fmla="*/ 0 h 82"/>
                <a:gd name="T6" fmla="*/ 7371 w 7372"/>
                <a:gd name="T7" fmla="*/ 0 h 82"/>
                <a:gd name="T8" fmla="*/ 7115 w 7372"/>
                <a:gd name="T9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72" h="82">
                  <a:moveTo>
                    <a:pt x="7115" y="81"/>
                  </a:moveTo>
                  <a:lnTo>
                    <a:pt x="256" y="81"/>
                  </a:lnTo>
                  <a:cubicBezTo>
                    <a:pt x="149" y="81"/>
                    <a:pt x="51" y="32"/>
                    <a:pt x="0" y="0"/>
                  </a:cubicBezTo>
                  <a:lnTo>
                    <a:pt x="7371" y="0"/>
                  </a:lnTo>
                  <a:cubicBezTo>
                    <a:pt x="7320" y="32"/>
                    <a:pt x="7222" y="81"/>
                    <a:pt x="7115" y="8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8" name="Freeform 105">
              <a:extLst>
                <a:ext uri="{FF2B5EF4-FFF2-40B4-BE49-F238E27FC236}">
                  <a16:creationId xmlns:a16="http://schemas.microsoft.com/office/drawing/2014/main" id="{5B9FA401-2548-CC46-BC7E-107F150D4C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" y="2638"/>
              <a:ext cx="1677" cy="27"/>
            </a:xfrm>
            <a:custGeom>
              <a:avLst/>
              <a:gdLst>
                <a:gd name="T0" fmla="*/ 0 w 7398"/>
                <a:gd name="T1" fmla="*/ 124 h 125"/>
                <a:gd name="T2" fmla="*/ 0 w 7398"/>
                <a:gd name="T3" fmla="*/ 0 h 125"/>
                <a:gd name="T4" fmla="*/ 692 w 7398"/>
                <a:gd name="T5" fmla="*/ 0 h 125"/>
                <a:gd name="T6" fmla="*/ 3184 w 7398"/>
                <a:gd name="T7" fmla="*/ 0 h 125"/>
                <a:gd name="T8" fmla="*/ 3264 w 7398"/>
                <a:gd name="T9" fmla="*/ 70 h 125"/>
                <a:gd name="T10" fmla="*/ 4133 w 7398"/>
                <a:gd name="T11" fmla="*/ 70 h 125"/>
                <a:gd name="T12" fmla="*/ 4213 w 7398"/>
                <a:gd name="T13" fmla="*/ 0 h 125"/>
                <a:gd name="T14" fmla="*/ 6705 w 7398"/>
                <a:gd name="T15" fmla="*/ 0 h 125"/>
                <a:gd name="T16" fmla="*/ 7397 w 7398"/>
                <a:gd name="T17" fmla="*/ 0 h 125"/>
                <a:gd name="T18" fmla="*/ 7397 w 7398"/>
                <a:gd name="T19" fmla="*/ 124 h 125"/>
                <a:gd name="T20" fmla="*/ 0 w 7398"/>
                <a:gd name="T21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98" h="125">
                  <a:moveTo>
                    <a:pt x="0" y="124"/>
                  </a:moveTo>
                  <a:lnTo>
                    <a:pt x="0" y="0"/>
                  </a:lnTo>
                  <a:lnTo>
                    <a:pt x="692" y="0"/>
                  </a:lnTo>
                  <a:lnTo>
                    <a:pt x="3184" y="0"/>
                  </a:lnTo>
                  <a:cubicBezTo>
                    <a:pt x="3189" y="40"/>
                    <a:pt x="3223" y="70"/>
                    <a:pt x="3264" y="70"/>
                  </a:cubicBezTo>
                  <a:lnTo>
                    <a:pt x="4133" y="70"/>
                  </a:lnTo>
                  <a:cubicBezTo>
                    <a:pt x="4174" y="70"/>
                    <a:pt x="4208" y="40"/>
                    <a:pt x="4213" y="0"/>
                  </a:cubicBezTo>
                  <a:lnTo>
                    <a:pt x="6705" y="0"/>
                  </a:lnTo>
                  <a:lnTo>
                    <a:pt x="7397" y="0"/>
                  </a:lnTo>
                  <a:lnTo>
                    <a:pt x="7397" y="124"/>
                  </a:lnTo>
                  <a:lnTo>
                    <a:pt x="0" y="1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9" name="Freeform 106">
              <a:extLst>
                <a:ext uri="{FF2B5EF4-FFF2-40B4-BE49-F238E27FC236}">
                  <a16:creationId xmlns:a16="http://schemas.microsoft.com/office/drawing/2014/main" id="{AD846241-5D78-2A4B-8C01-8C7F2F0D4E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2" y="1780"/>
              <a:ext cx="1276" cy="794"/>
            </a:xfrm>
            <a:custGeom>
              <a:avLst/>
              <a:gdLst>
                <a:gd name="T0" fmla="*/ 2814 w 5630"/>
                <a:gd name="T1" fmla="*/ 3505 h 3506"/>
                <a:gd name="T2" fmla="*/ 0 w 5630"/>
                <a:gd name="T3" fmla="*/ 3505 h 3506"/>
                <a:gd name="T4" fmla="*/ 0 w 5630"/>
                <a:gd name="T5" fmla="*/ 0 h 3506"/>
                <a:gd name="T6" fmla="*/ 5629 w 5630"/>
                <a:gd name="T7" fmla="*/ 0 h 3506"/>
                <a:gd name="T8" fmla="*/ 5629 w 5630"/>
                <a:gd name="T9" fmla="*/ 3505 h 3506"/>
                <a:gd name="T10" fmla="*/ 2814 w 5630"/>
                <a:gd name="T11" fmla="*/ 3505 h 3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30" h="3506">
                  <a:moveTo>
                    <a:pt x="2814" y="3505"/>
                  </a:moveTo>
                  <a:lnTo>
                    <a:pt x="0" y="3505"/>
                  </a:lnTo>
                  <a:lnTo>
                    <a:pt x="0" y="0"/>
                  </a:lnTo>
                  <a:lnTo>
                    <a:pt x="5629" y="0"/>
                  </a:lnTo>
                  <a:lnTo>
                    <a:pt x="5629" y="3505"/>
                  </a:lnTo>
                  <a:lnTo>
                    <a:pt x="2814" y="350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0" name="Freeform 107">
              <a:extLst>
                <a:ext uri="{FF2B5EF4-FFF2-40B4-BE49-F238E27FC236}">
                  <a16:creationId xmlns:a16="http://schemas.microsoft.com/office/drawing/2014/main" id="{43F7A5EE-29A0-5F42-8EB2-5E8823CD37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3" y="1747"/>
              <a:ext cx="14" cy="14"/>
            </a:xfrm>
            <a:custGeom>
              <a:avLst/>
              <a:gdLst>
                <a:gd name="T0" fmla="*/ 63 w 64"/>
                <a:gd name="T1" fmla="*/ 32 h 65"/>
                <a:gd name="T2" fmla="*/ 59 w 64"/>
                <a:gd name="T3" fmla="*/ 48 h 65"/>
                <a:gd name="T4" fmla="*/ 47 w 64"/>
                <a:gd name="T5" fmla="*/ 59 h 65"/>
                <a:gd name="T6" fmla="*/ 31 w 64"/>
                <a:gd name="T7" fmla="*/ 64 h 65"/>
                <a:gd name="T8" fmla="*/ 16 w 64"/>
                <a:gd name="T9" fmla="*/ 59 h 65"/>
                <a:gd name="T10" fmla="*/ 4 w 64"/>
                <a:gd name="T11" fmla="*/ 48 h 65"/>
                <a:gd name="T12" fmla="*/ 0 w 64"/>
                <a:gd name="T13" fmla="*/ 32 h 65"/>
                <a:gd name="T14" fmla="*/ 4 w 64"/>
                <a:gd name="T15" fmla="*/ 16 h 65"/>
                <a:gd name="T16" fmla="*/ 16 w 64"/>
                <a:gd name="T17" fmla="*/ 5 h 65"/>
                <a:gd name="T18" fmla="*/ 31 w 64"/>
                <a:gd name="T19" fmla="*/ 0 h 65"/>
                <a:gd name="T20" fmla="*/ 47 w 64"/>
                <a:gd name="T21" fmla="*/ 5 h 65"/>
                <a:gd name="T22" fmla="*/ 59 w 64"/>
                <a:gd name="T23" fmla="*/ 16 h 65"/>
                <a:gd name="T24" fmla="*/ 63 w 64"/>
                <a:gd name="T25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5">
                  <a:moveTo>
                    <a:pt x="63" y="32"/>
                  </a:moveTo>
                  <a:cubicBezTo>
                    <a:pt x="63" y="38"/>
                    <a:pt x="62" y="43"/>
                    <a:pt x="59" y="48"/>
                  </a:cubicBezTo>
                  <a:cubicBezTo>
                    <a:pt x="56" y="53"/>
                    <a:pt x="52" y="56"/>
                    <a:pt x="47" y="59"/>
                  </a:cubicBezTo>
                  <a:cubicBezTo>
                    <a:pt x="42" y="61"/>
                    <a:pt x="37" y="64"/>
                    <a:pt x="31" y="64"/>
                  </a:cubicBezTo>
                  <a:cubicBezTo>
                    <a:pt x="26" y="64"/>
                    <a:pt x="21" y="61"/>
                    <a:pt x="16" y="59"/>
                  </a:cubicBezTo>
                  <a:cubicBezTo>
                    <a:pt x="11" y="56"/>
                    <a:pt x="7" y="53"/>
                    <a:pt x="4" y="48"/>
                  </a:cubicBezTo>
                  <a:cubicBezTo>
                    <a:pt x="1" y="43"/>
                    <a:pt x="0" y="38"/>
                    <a:pt x="0" y="32"/>
                  </a:cubicBezTo>
                  <a:cubicBezTo>
                    <a:pt x="0" y="26"/>
                    <a:pt x="1" y="21"/>
                    <a:pt x="4" y="16"/>
                  </a:cubicBezTo>
                  <a:cubicBezTo>
                    <a:pt x="7" y="11"/>
                    <a:pt x="11" y="7"/>
                    <a:pt x="16" y="5"/>
                  </a:cubicBezTo>
                  <a:cubicBezTo>
                    <a:pt x="21" y="2"/>
                    <a:pt x="26" y="0"/>
                    <a:pt x="31" y="0"/>
                  </a:cubicBezTo>
                  <a:cubicBezTo>
                    <a:pt x="37" y="0"/>
                    <a:pt x="42" y="2"/>
                    <a:pt x="47" y="5"/>
                  </a:cubicBezTo>
                  <a:cubicBezTo>
                    <a:pt x="52" y="7"/>
                    <a:pt x="56" y="11"/>
                    <a:pt x="59" y="16"/>
                  </a:cubicBezTo>
                  <a:cubicBezTo>
                    <a:pt x="62" y="21"/>
                    <a:pt x="63" y="26"/>
                    <a:pt x="63" y="32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1" name="Freeform 108">
              <a:extLst>
                <a:ext uri="{FF2B5EF4-FFF2-40B4-BE49-F238E27FC236}">
                  <a16:creationId xmlns:a16="http://schemas.microsoft.com/office/drawing/2014/main" id="{5E2CC459-48CE-194D-928F-09FB750BEC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6" y="1749"/>
              <a:ext cx="7" cy="7"/>
            </a:xfrm>
            <a:custGeom>
              <a:avLst/>
              <a:gdLst>
                <a:gd name="T0" fmla="*/ 17 w 36"/>
                <a:gd name="T1" fmla="*/ 0 h 37"/>
                <a:gd name="T2" fmla="*/ 35 w 36"/>
                <a:gd name="T3" fmla="*/ 18 h 37"/>
                <a:gd name="T4" fmla="*/ 17 w 36"/>
                <a:gd name="T5" fmla="*/ 36 h 37"/>
                <a:gd name="T6" fmla="*/ 0 w 36"/>
                <a:gd name="T7" fmla="*/ 18 h 37"/>
                <a:gd name="T8" fmla="*/ 17 w 36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0"/>
                  </a:moveTo>
                  <a:cubicBezTo>
                    <a:pt x="27" y="0"/>
                    <a:pt x="35" y="8"/>
                    <a:pt x="35" y="18"/>
                  </a:cubicBezTo>
                  <a:cubicBezTo>
                    <a:pt x="35" y="28"/>
                    <a:pt x="27" y="36"/>
                    <a:pt x="17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3EBB2241-BC4A-7340-9A36-F29C322826B1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5964095" y="1387454"/>
            <a:ext cx="6221280" cy="408309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787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cBook mockup [2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0688" y="362822"/>
            <a:ext cx="3527425" cy="1066952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41111" y="1889754"/>
            <a:ext cx="3527002" cy="4161305"/>
          </a:xfrm>
        </p:spPr>
        <p:txBody>
          <a:bodyPr rIns="1800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9D21BF0-8019-5D4B-979D-D179173E14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3F82A7C-3746-9C42-B9EA-F45B5936A9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grpSp>
        <p:nvGrpSpPr>
          <p:cNvPr id="24" name="Group 101">
            <a:extLst>
              <a:ext uri="{FF2B5EF4-FFF2-40B4-BE49-F238E27FC236}">
                <a16:creationId xmlns:a16="http://schemas.microsoft.com/office/drawing/2014/main" id="{AF5B3C6B-0565-944A-AC5C-4D99473BA81D}"/>
              </a:ext>
            </a:extLst>
          </p:cNvPr>
          <p:cNvGrpSpPr>
            <a:grpSpLocks/>
          </p:cNvGrpSpPr>
          <p:nvPr/>
        </p:nvGrpSpPr>
        <p:grpSpPr bwMode="auto">
          <a:xfrm>
            <a:off x="-1326262" y="1119486"/>
            <a:ext cx="8641843" cy="4931573"/>
            <a:chOff x="3231" y="1727"/>
            <a:chExt cx="1677" cy="957"/>
          </a:xfrm>
        </p:grpSpPr>
        <p:sp>
          <p:nvSpPr>
            <p:cNvPr id="25" name="Freeform 102">
              <a:extLst>
                <a:ext uri="{FF2B5EF4-FFF2-40B4-BE49-F238E27FC236}">
                  <a16:creationId xmlns:a16="http://schemas.microsoft.com/office/drawing/2014/main" id="{D7FA6FD7-2EE0-0B49-B665-1804B8C93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0" y="1727"/>
              <a:ext cx="1359" cy="910"/>
            </a:xfrm>
            <a:custGeom>
              <a:avLst/>
              <a:gdLst>
                <a:gd name="T0" fmla="*/ 0 w 5998"/>
                <a:gd name="T1" fmla="*/ 185 h 4019"/>
                <a:gd name="T2" fmla="*/ 185 w 5998"/>
                <a:gd name="T3" fmla="*/ 0 h 4019"/>
                <a:gd name="T4" fmla="*/ 5812 w 5998"/>
                <a:gd name="T5" fmla="*/ 0 h 4019"/>
                <a:gd name="T6" fmla="*/ 5997 w 5998"/>
                <a:gd name="T7" fmla="*/ 185 h 4019"/>
                <a:gd name="T8" fmla="*/ 5997 w 5998"/>
                <a:gd name="T9" fmla="*/ 4018 h 4019"/>
                <a:gd name="T10" fmla="*/ 3514 w 5998"/>
                <a:gd name="T11" fmla="*/ 4018 h 4019"/>
                <a:gd name="T12" fmla="*/ 2483 w 5998"/>
                <a:gd name="T13" fmla="*/ 4018 h 4019"/>
                <a:gd name="T14" fmla="*/ 0 w 5998"/>
                <a:gd name="T15" fmla="*/ 4018 h 4019"/>
                <a:gd name="T16" fmla="*/ 0 w 5998"/>
                <a:gd name="T17" fmla="*/ 185 h 4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98" h="4019">
                  <a:moveTo>
                    <a:pt x="0" y="185"/>
                  </a:moveTo>
                  <a:cubicBezTo>
                    <a:pt x="0" y="83"/>
                    <a:pt x="83" y="0"/>
                    <a:pt x="185" y="0"/>
                  </a:cubicBezTo>
                  <a:lnTo>
                    <a:pt x="5812" y="0"/>
                  </a:lnTo>
                  <a:cubicBezTo>
                    <a:pt x="5914" y="0"/>
                    <a:pt x="5997" y="83"/>
                    <a:pt x="5997" y="185"/>
                  </a:cubicBezTo>
                  <a:lnTo>
                    <a:pt x="5997" y="4018"/>
                  </a:lnTo>
                  <a:lnTo>
                    <a:pt x="3514" y="4018"/>
                  </a:lnTo>
                  <a:lnTo>
                    <a:pt x="2483" y="4018"/>
                  </a:lnTo>
                  <a:lnTo>
                    <a:pt x="0" y="4018"/>
                  </a:lnTo>
                  <a:lnTo>
                    <a:pt x="0" y="18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6" name="Freeform 103">
              <a:extLst>
                <a:ext uri="{FF2B5EF4-FFF2-40B4-BE49-F238E27FC236}">
                  <a16:creationId xmlns:a16="http://schemas.microsoft.com/office/drawing/2014/main" id="{D786CE2D-7ECA-A94E-8F7B-7C26E9A6D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4" y="2638"/>
              <a:ext cx="231" cy="13"/>
            </a:xfrm>
            <a:custGeom>
              <a:avLst/>
              <a:gdLst>
                <a:gd name="T0" fmla="*/ 999 w 1000"/>
                <a:gd name="T1" fmla="*/ 0 h 56"/>
                <a:gd name="T2" fmla="*/ 934 w 1000"/>
                <a:gd name="T3" fmla="*/ 55 h 56"/>
                <a:gd name="T4" fmla="*/ 65 w 1000"/>
                <a:gd name="T5" fmla="*/ 55 h 56"/>
                <a:gd name="T6" fmla="*/ 0 w 1000"/>
                <a:gd name="T7" fmla="*/ 0 h 56"/>
                <a:gd name="T8" fmla="*/ 999 w 1000"/>
                <a:gd name="T9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0" h="56">
                  <a:moveTo>
                    <a:pt x="999" y="0"/>
                  </a:moveTo>
                  <a:cubicBezTo>
                    <a:pt x="994" y="31"/>
                    <a:pt x="966" y="55"/>
                    <a:pt x="934" y="55"/>
                  </a:cubicBezTo>
                  <a:lnTo>
                    <a:pt x="65" y="55"/>
                  </a:lnTo>
                  <a:cubicBezTo>
                    <a:pt x="33" y="55"/>
                    <a:pt x="5" y="31"/>
                    <a:pt x="0" y="0"/>
                  </a:cubicBezTo>
                  <a:lnTo>
                    <a:pt x="999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7" name="Freeform 104">
              <a:extLst>
                <a:ext uri="{FF2B5EF4-FFF2-40B4-BE49-F238E27FC236}">
                  <a16:creationId xmlns:a16="http://schemas.microsoft.com/office/drawing/2014/main" id="{E7534459-1B2B-DB4D-8DDE-451C301F9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4" y="2666"/>
              <a:ext cx="1671" cy="18"/>
            </a:xfrm>
            <a:custGeom>
              <a:avLst/>
              <a:gdLst>
                <a:gd name="T0" fmla="*/ 7115 w 7372"/>
                <a:gd name="T1" fmla="*/ 81 h 82"/>
                <a:gd name="T2" fmla="*/ 256 w 7372"/>
                <a:gd name="T3" fmla="*/ 81 h 82"/>
                <a:gd name="T4" fmla="*/ 0 w 7372"/>
                <a:gd name="T5" fmla="*/ 0 h 82"/>
                <a:gd name="T6" fmla="*/ 7371 w 7372"/>
                <a:gd name="T7" fmla="*/ 0 h 82"/>
                <a:gd name="T8" fmla="*/ 7115 w 7372"/>
                <a:gd name="T9" fmla="*/ 81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372" h="82">
                  <a:moveTo>
                    <a:pt x="7115" y="81"/>
                  </a:moveTo>
                  <a:lnTo>
                    <a:pt x="256" y="81"/>
                  </a:lnTo>
                  <a:cubicBezTo>
                    <a:pt x="149" y="81"/>
                    <a:pt x="51" y="32"/>
                    <a:pt x="0" y="0"/>
                  </a:cubicBezTo>
                  <a:lnTo>
                    <a:pt x="7371" y="0"/>
                  </a:lnTo>
                  <a:cubicBezTo>
                    <a:pt x="7320" y="32"/>
                    <a:pt x="7222" y="81"/>
                    <a:pt x="7115" y="81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8" name="Freeform 105">
              <a:extLst>
                <a:ext uri="{FF2B5EF4-FFF2-40B4-BE49-F238E27FC236}">
                  <a16:creationId xmlns:a16="http://schemas.microsoft.com/office/drawing/2014/main" id="{D77F6713-37E0-8C43-A33F-1CA27A767F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1" y="2638"/>
              <a:ext cx="1677" cy="27"/>
            </a:xfrm>
            <a:custGeom>
              <a:avLst/>
              <a:gdLst>
                <a:gd name="T0" fmla="*/ 0 w 7398"/>
                <a:gd name="T1" fmla="*/ 124 h 125"/>
                <a:gd name="T2" fmla="*/ 0 w 7398"/>
                <a:gd name="T3" fmla="*/ 0 h 125"/>
                <a:gd name="T4" fmla="*/ 692 w 7398"/>
                <a:gd name="T5" fmla="*/ 0 h 125"/>
                <a:gd name="T6" fmla="*/ 3184 w 7398"/>
                <a:gd name="T7" fmla="*/ 0 h 125"/>
                <a:gd name="T8" fmla="*/ 3264 w 7398"/>
                <a:gd name="T9" fmla="*/ 70 h 125"/>
                <a:gd name="T10" fmla="*/ 4133 w 7398"/>
                <a:gd name="T11" fmla="*/ 70 h 125"/>
                <a:gd name="T12" fmla="*/ 4213 w 7398"/>
                <a:gd name="T13" fmla="*/ 0 h 125"/>
                <a:gd name="T14" fmla="*/ 6705 w 7398"/>
                <a:gd name="T15" fmla="*/ 0 h 125"/>
                <a:gd name="T16" fmla="*/ 7397 w 7398"/>
                <a:gd name="T17" fmla="*/ 0 h 125"/>
                <a:gd name="T18" fmla="*/ 7397 w 7398"/>
                <a:gd name="T19" fmla="*/ 124 h 125"/>
                <a:gd name="T20" fmla="*/ 0 w 7398"/>
                <a:gd name="T21" fmla="*/ 12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398" h="125">
                  <a:moveTo>
                    <a:pt x="0" y="124"/>
                  </a:moveTo>
                  <a:lnTo>
                    <a:pt x="0" y="0"/>
                  </a:lnTo>
                  <a:lnTo>
                    <a:pt x="692" y="0"/>
                  </a:lnTo>
                  <a:lnTo>
                    <a:pt x="3184" y="0"/>
                  </a:lnTo>
                  <a:cubicBezTo>
                    <a:pt x="3189" y="40"/>
                    <a:pt x="3223" y="70"/>
                    <a:pt x="3264" y="70"/>
                  </a:cubicBezTo>
                  <a:lnTo>
                    <a:pt x="4133" y="70"/>
                  </a:lnTo>
                  <a:cubicBezTo>
                    <a:pt x="4174" y="70"/>
                    <a:pt x="4208" y="40"/>
                    <a:pt x="4213" y="0"/>
                  </a:cubicBezTo>
                  <a:lnTo>
                    <a:pt x="6705" y="0"/>
                  </a:lnTo>
                  <a:lnTo>
                    <a:pt x="7397" y="0"/>
                  </a:lnTo>
                  <a:lnTo>
                    <a:pt x="7397" y="124"/>
                  </a:lnTo>
                  <a:lnTo>
                    <a:pt x="0" y="12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9" name="Freeform 106">
              <a:extLst>
                <a:ext uri="{FF2B5EF4-FFF2-40B4-BE49-F238E27FC236}">
                  <a16:creationId xmlns:a16="http://schemas.microsoft.com/office/drawing/2014/main" id="{D68A9B85-2019-E240-AADB-D629B6D536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2" y="1780"/>
              <a:ext cx="1276" cy="794"/>
            </a:xfrm>
            <a:custGeom>
              <a:avLst/>
              <a:gdLst>
                <a:gd name="T0" fmla="*/ 2814 w 5630"/>
                <a:gd name="T1" fmla="*/ 3505 h 3506"/>
                <a:gd name="T2" fmla="*/ 0 w 5630"/>
                <a:gd name="T3" fmla="*/ 3505 h 3506"/>
                <a:gd name="T4" fmla="*/ 0 w 5630"/>
                <a:gd name="T5" fmla="*/ 0 h 3506"/>
                <a:gd name="T6" fmla="*/ 5629 w 5630"/>
                <a:gd name="T7" fmla="*/ 0 h 3506"/>
                <a:gd name="T8" fmla="*/ 5629 w 5630"/>
                <a:gd name="T9" fmla="*/ 3505 h 3506"/>
                <a:gd name="T10" fmla="*/ 2814 w 5630"/>
                <a:gd name="T11" fmla="*/ 3505 h 3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30" h="3506">
                  <a:moveTo>
                    <a:pt x="2814" y="3505"/>
                  </a:moveTo>
                  <a:lnTo>
                    <a:pt x="0" y="3505"/>
                  </a:lnTo>
                  <a:lnTo>
                    <a:pt x="0" y="0"/>
                  </a:lnTo>
                  <a:lnTo>
                    <a:pt x="5629" y="0"/>
                  </a:lnTo>
                  <a:lnTo>
                    <a:pt x="5629" y="3505"/>
                  </a:lnTo>
                  <a:lnTo>
                    <a:pt x="2814" y="3505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0" name="Freeform 107">
              <a:extLst>
                <a:ext uri="{FF2B5EF4-FFF2-40B4-BE49-F238E27FC236}">
                  <a16:creationId xmlns:a16="http://schemas.microsoft.com/office/drawing/2014/main" id="{C2D00FF9-2EC8-2647-9A30-814F4D165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3" y="1747"/>
              <a:ext cx="14" cy="14"/>
            </a:xfrm>
            <a:custGeom>
              <a:avLst/>
              <a:gdLst>
                <a:gd name="T0" fmla="*/ 63 w 64"/>
                <a:gd name="T1" fmla="*/ 32 h 65"/>
                <a:gd name="T2" fmla="*/ 59 w 64"/>
                <a:gd name="T3" fmla="*/ 48 h 65"/>
                <a:gd name="T4" fmla="*/ 47 w 64"/>
                <a:gd name="T5" fmla="*/ 59 h 65"/>
                <a:gd name="T6" fmla="*/ 31 w 64"/>
                <a:gd name="T7" fmla="*/ 64 h 65"/>
                <a:gd name="T8" fmla="*/ 16 w 64"/>
                <a:gd name="T9" fmla="*/ 59 h 65"/>
                <a:gd name="T10" fmla="*/ 4 w 64"/>
                <a:gd name="T11" fmla="*/ 48 h 65"/>
                <a:gd name="T12" fmla="*/ 0 w 64"/>
                <a:gd name="T13" fmla="*/ 32 h 65"/>
                <a:gd name="T14" fmla="*/ 4 w 64"/>
                <a:gd name="T15" fmla="*/ 16 h 65"/>
                <a:gd name="T16" fmla="*/ 16 w 64"/>
                <a:gd name="T17" fmla="*/ 5 h 65"/>
                <a:gd name="T18" fmla="*/ 31 w 64"/>
                <a:gd name="T19" fmla="*/ 0 h 65"/>
                <a:gd name="T20" fmla="*/ 47 w 64"/>
                <a:gd name="T21" fmla="*/ 5 h 65"/>
                <a:gd name="T22" fmla="*/ 59 w 64"/>
                <a:gd name="T23" fmla="*/ 16 h 65"/>
                <a:gd name="T24" fmla="*/ 63 w 64"/>
                <a:gd name="T25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5">
                  <a:moveTo>
                    <a:pt x="63" y="32"/>
                  </a:moveTo>
                  <a:cubicBezTo>
                    <a:pt x="63" y="38"/>
                    <a:pt x="62" y="43"/>
                    <a:pt x="59" y="48"/>
                  </a:cubicBezTo>
                  <a:cubicBezTo>
                    <a:pt x="56" y="53"/>
                    <a:pt x="52" y="56"/>
                    <a:pt x="47" y="59"/>
                  </a:cubicBezTo>
                  <a:cubicBezTo>
                    <a:pt x="42" y="61"/>
                    <a:pt x="37" y="64"/>
                    <a:pt x="31" y="64"/>
                  </a:cubicBezTo>
                  <a:cubicBezTo>
                    <a:pt x="26" y="64"/>
                    <a:pt x="21" y="61"/>
                    <a:pt x="16" y="59"/>
                  </a:cubicBezTo>
                  <a:cubicBezTo>
                    <a:pt x="11" y="56"/>
                    <a:pt x="7" y="53"/>
                    <a:pt x="4" y="48"/>
                  </a:cubicBezTo>
                  <a:cubicBezTo>
                    <a:pt x="1" y="43"/>
                    <a:pt x="0" y="38"/>
                    <a:pt x="0" y="32"/>
                  </a:cubicBezTo>
                  <a:cubicBezTo>
                    <a:pt x="0" y="26"/>
                    <a:pt x="1" y="21"/>
                    <a:pt x="4" y="16"/>
                  </a:cubicBezTo>
                  <a:cubicBezTo>
                    <a:pt x="7" y="11"/>
                    <a:pt x="11" y="7"/>
                    <a:pt x="16" y="5"/>
                  </a:cubicBezTo>
                  <a:cubicBezTo>
                    <a:pt x="21" y="2"/>
                    <a:pt x="26" y="0"/>
                    <a:pt x="31" y="0"/>
                  </a:cubicBezTo>
                  <a:cubicBezTo>
                    <a:pt x="37" y="0"/>
                    <a:pt x="42" y="2"/>
                    <a:pt x="47" y="5"/>
                  </a:cubicBezTo>
                  <a:cubicBezTo>
                    <a:pt x="52" y="7"/>
                    <a:pt x="56" y="11"/>
                    <a:pt x="59" y="16"/>
                  </a:cubicBezTo>
                  <a:cubicBezTo>
                    <a:pt x="62" y="21"/>
                    <a:pt x="63" y="26"/>
                    <a:pt x="63" y="32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1" name="Freeform 108">
              <a:extLst>
                <a:ext uri="{FF2B5EF4-FFF2-40B4-BE49-F238E27FC236}">
                  <a16:creationId xmlns:a16="http://schemas.microsoft.com/office/drawing/2014/main" id="{BA3DC7CA-F4FF-674F-A14A-6F8F770DB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66" y="1749"/>
              <a:ext cx="7" cy="7"/>
            </a:xfrm>
            <a:custGeom>
              <a:avLst/>
              <a:gdLst>
                <a:gd name="T0" fmla="*/ 17 w 36"/>
                <a:gd name="T1" fmla="*/ 0 h 37"/>
                <a:gd name="T2" fmla="*/ 35 w 36"/>
                <a:gd name="T3" fmla="*/ 18 h 37"/>
                <a:gd name="T4" fmla="*/ 17 w 36"/>
                <a:gd name="T5" fmla="*/ 36 h 37"/>
                <a:gd name="T6" fmla="*/ 0 w 36"/>
                <a:gd name="T7" fmla="*/ 18 h 37"/>
                <a:gd name="T8" fmla="*/ 17 w 36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37">
                  <a:moveTo>
                    <a:pt x="17" y="0"/>
                  </a:moveTo>
                  <a:cubicBezTo>
                    <a:pt x="27" y="0"/>
                    <a:pt x="35" y="8"/>
                    <a:pt x="35" y="18"/>
                  </a:cubicBezTo>
                  <a:cubicBezTo>
                    <a:pt x="35" y="28"/>
                    <a:pt x="27" y="36"/>
                    <a:pt x="17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346D7301-D8CB-DF4D-903F-2C4BA6577C1E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0" y="1387454"/>
            <a:ext cx="6284949" cy="4083092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0627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Phone mockup [1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30">
            <a:extLst>
              <a:ext uri="{FF2B5EF4-FFF2-40B4-BE49-F238E27FC236}">
                <a16:creationId xmlns:a16="http://schemas.microsoft.com/office/drawing/2014/main" id="{12F135EA-69B1-6F43-B940-55A061AA5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0059" y="556268"/>
            <a:ext cx="2702632" cy="5484496"/>
          </a:xfrm>
          <a:custGeom>
            <a:avLst/>
            <a:gdLst>
              <a:gd name="T0" fmla="*/ 1176 w 1360"/>
              <a:gd name="T1" fmla="*/ 2750 h 2751"/>
              <a:gd name="T2" fmla="*/ 184 w 1360"/>
              <a:gd name="T3" fmla="*/ 2750 h 2751"/>
              <a:gd name="T4" fmla="*/ 0 w 1360"/>
              <a:gd name="T5" fmla="*/ 2567 h 2751"/>
              <a:gd name="T6" fmla="*/ 0 w 1360"/>
              <a:gd name="T7" fmla="*/ 183 h 2751"/>
              <a:gd name="T8" fmla="*/ 184 w 1360"/>
              <a:gd name="T9" fmla="*/ 0 h 2751"/>
              <a:gd name="T10" fmla="*/ 1176 w 1360"/>
              <a:gd name="T11" fmla="*/ 0 h 2751"/>
              <a:gd name="T12" fmla="*/ 1359 w 1360"/>
              <a:gd name="T13" fmla="*/ 183 h 2751"/>
              <a:gd name="T14" fmla="*/ 1359 w 1360"/>
              <a:gd name="T15" fmla="*/ 2567 h 2751"/>
              <a:gd name="T16" fmla="*/ 1176 w 1360"/>
              <a:gd name="T17" fmla="*/ 2750 h 2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60" h="2751">
                <a:moveTo>
                  <a:pt x="1176" y="2750"/>
                </a:moveTo>
                <a:lnTo>
                  <a:pt x="184" y="2750"/>
                </a:lnTo>
                <a:cubicBezTo>
                  <a:pt x="83" y="2750"/>
                  <a:pt x="0" y="2668"/>
                  <a:pt x="0" y="2567"/>
                </a:cubicBezTo>
                <a:lnTo>
                  <a:pt x="0" y="183"/>
                </a:lnTo>
                <a:cubicBezTo>
                  <a:pt x="0" y="82"/>
                  <a:pt x="83" y="0"/>
                  <a:pt x="184" y="0"/>
                </a:cubicBezTo>
                <a:lnTo>
                  <a:pt x="1176" y="0"/>
                </a:lnTo>
                <a:cubicBezTo>
                  <a:pt x="1277" y="0"/>
                  <a:pt x="1359" y="82"/>
                  <a:pt x="1359" y="183"/>
                </a:cubicBezTo>
                <a:lnTo>
                  <a:pt x="1359" y="2567"/>
                </a:lnTo>
                <a:cubicBezTo>
                  <a:pt x="1359" y="2668"/>
                  <a:pt x="1277" y="2750"/>
                  <a:pt x="1176" y="2750"/>
                </a:cubicBezTo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19" name="Freeform 31">
            <a:extLst>
              <a:ext uri="{FF2B5EF4-FFF2-40B4-BE49-F238E27FC236}">
                <a16:creationId xmlns:a16="http://schemas.microsoft.com/office/drawing/2014/main" id="{1C1A6562-9462-E44C-A1D2-06F47266A6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7575" y="569716"/>
            <a:ext cx="2667600" cy="5457600"/>
          </a:xfrm>
          <a:custGeom>
            <a:avLst/>
            <a:gdLst>
              <a:gd name="T0" fmla="*/ 0 w 1348"/>
              <a:gd name="T1" fmla="*/ 178 h 2741"/>
              <a:gd name="T2" fmla="*/ 0 w 1348"/>
              <a:gd name="T3" fmla="*/ 2562 h 2741"/>
              <a:gd name="T4" fmla="*/ 178 w 1348"/>
              <a:gd name="T5" fmla="*/ 2740 h 2741"/>
              <a:gd name="T6" fmla="*/ 1170 w 1348"/>
              <a:gd name="T7" fmla="*/ 2740 h 2741"/>
              <a:gd name="T8" fmla="*/ 1347 w 1348"/>
              <a:gd name="T9" fmla="*/ 2562 h 2741"/>
              <a:gd name="T10" fmla="*/ 1347 w 1348"/>
              <a:gd name="T11" fmla="*/ 178 h 2741"/>
              <a:gd name="T12" fmla="*/ 1170 w 1348"/>
              <a:gd name="T13" fmla="*/ 0 h 2741"/>
              <a:gd name="T14" fmla="*/ 178 w 1348"/>
              <a:gd name="T15" fmla="*/ 0 h 2741"/>
              <a:gd name="T16" fmla="*/ 0 w 1348"/>
              <a:gd name="T17" fmla="*/ 178 h 2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48" h="2741">
                <a:moveTo>
                  <a:pt x="0" y="178"/>
                </a:moveTo>
                <a:lnTo>
                  <a:pt x="0" y="2562"/>
                </a:lnTo>
                <a:cubicBezTo>
                  <a:pt x="0" y="2660"/>
                  <a:pt x="80" y="2740"/>
                  <a:pt x="178" y="2740"/>
                </a:cubicBezTo>
                <a:lnTo>
                  <a:pt x="1170" y="2740"/>
                </a:lnTo>
                <a:cubicBezTo>
                  <a:pt x="1268" y="2740"/>
                  <a:pt x="1347" y="2660"/>
                  <a:pt x="1347" y="2562"/>
                </a:cubicBezTo>
                <a:lnTo>
                  <a:pt x="1347" y="178"/>
                </a:lnTo>
                <a:cubicBezTo>
                  <a:pt x="1347" y="80"/>
                  <a:pt x="1268" y="0"/>
                  <a:pt x="1170" y="0"/>
                </a:cubicBezTo>
                <a:lnTo>
                  <a:pt x="178" y="0"/>
                </a:lnTo>
                <a:cubicBezTo>
                  <a:pt x="80" y="0"/>
                  <a:pt x="0" y="80"/>
                  <a:pt x="0" y="178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0" name="Freeform 32">
            <a:extLst>
              <a:ext uri="{FF2B5EF4-FFF2-40B4-BE49-F238E27FC236}">
                <a16:creationId xmlns:a16="http://schemas.microsoft.com/office/drawing/2014/main" id="{6CA69964-58FE-1342-9E51-D7D83E842D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56126" y="1179814"/>
            <a:ext cx="2359301" cy="4208008"/>
          </a:xfrm>
          <a:custGeom>
            <a:avLst/>
            <a:gdLst>
              <a:gd name="T0" fmla="*/ 594 w 1188"/>
              <a:gd name="T1" fmla="*/ 2110 h 2111"/>
              <a:gd name="T2" fmla="*/ 0 w 1188"/>
              <a:gd name="T3" fmla="*/ 2110 h 2111"/>
              <a:gd name="T4" fmla="*/ 0 w 1188"/>
              <a:gd name="T5" fmla="*/ 0 h 2111"/>
              <a:gd name="T6" fmla="*/ 1187 w 1188"/>
              <a:gd name="T7" fmla="*/ 0 h 2111"/>
              <a:gd name="T8" fmla="*/ 1187 w 1188"/>
              <a:gd name="T9" fmla="*/ 2110 h 2111"/>
              <a:gd name="T10" fmla="*/ 594 w 1188"/>
              <a:gd name="T11" fmla="*/ 2110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88" h="2111">
                <a:moveTo>
                  <a:pt x="594" y="2110"/>
                </a:moveTo>
                <a:lnTo>
                  <a:pt x="0" y="2110"/>
                </a:lnTo>
                <a:lnTo>
                  <a:pt x="0" y="0"/>
                </a:lnTo>
                <a:lnTo>
                  <a:pt x="1187" y="0"/>
                </a:lnTo>
                <a:lnTo>
                  <a:pt x="1187" y="2110"/>
                </a:lnTo>
                <a:lnTo>
                  <a:pt x="594" y="2110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1" name="Freeform 33">
            <a:extLst>
              <a:ext uri="{FF2B5EF4-FFF2-40B4-BE49-F238E27FC236}">
                <a16:creationId xmlns:a16="http://schemas.microsoft.com/office/drawing/2014/main" id="{03D6CEC6-09C7-BC46-9EDA-2635359A6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8513" y="5511070"/>
            <a:ext cx="343331" cy="343331"/>
          </a:xfrm>
          <a:custGeom>
            <a:avLst/>
            <a:gdLst>
              <a:gd name="T0" fmla="*/ 88 w 176"/>
              <a:gd name="T1" fmla="*/ 175 h 176"/>
              <a:gd name="T2" fmla="*/ 0 w 176"/>
              <a:gd name="T3" fmla="*/ 88 h 176"/>
              <a:gd name="T4" fmla="*/ 88 w 176"/>
              <a:gd name="T5" fmla="*/ 0 h 176"/>
              <a:gd name="T6" fmla="*/ 175 w 176"/>
              <a:gd name="T7" fmla="*/ 88 h 176"/>
              <a:gd name="T8" fmla="*/ 88 w 176"/>
              <a:gd name="T9" fmla="*/ 175 h 176"/>
              <a:gd name="T10" fmla="*/ 88 w 176"/>
              <a:gd name="T11" fmla="*/ 6 h 176"/>
              <a:gd name="T12" fmla="*/ 6 w 176"/>
              <a:gd name="T13" fmla="*/ 88 h 176"/>
              <a:gd name="T14" fmla="*/ 88 w 176"/>
              <a:gd name="T15" fmla="*/ 170 h 176"/>
              <a:gd name="T16" fmla="*/ 170 w 176"/>
              <a:gd name="T17" fmla="*/ 88 h 176"/>
              <a:gd name="T18" fmla="*/ 88 w 176"/>
              <a:gd name="T19" fmla="*/ 6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6" h="176">
                <a:moveTo>
                  <a:pt x="88" y="175"/>
                </a:moveTo>
                <a:cubicBezTo>
                  <a:pt x="39" y="175"/>
                  <a:pt x="0" y="136"/>
                  <a:pt x="0" y="88"/>
                </a:cubicBezTo>
                <a:cubicBezTo>
                  <a:pt x="0" y="39"/>
                  <a:pt x="39" y="0"/>
                  <a:pt x="88" y="0"/>
                </a:cubicBezTo>
                <a:cubicBezTo>
                  <a:pt x="136" y="0"/>
                  <a:pt x="175" y="39"/>
                  <a:pt x="175" y="88"/>
                </a:cubicBezTo>
                <a:cubicBezTo>
                  <a:pt x="175" y="136"/>
                  <a:pt x="136" y="175"/>
                  <a:pt x="88" y="175"/>
                </a:cubicBezTo>
                <a:close/>
                <a:moveTo>
                  <a:pt x="88" y="6"/>
                </a:moveTo>
                <a:cubicBezTo>
                  <a:pt x="42" y="6"/>
                  <a:pt x="6" y="42"/>
                  <a:pt x="6" y="88"/>
                </a:cubicBezTo>
                <a:cubicBezTo>
                  <a:pt x="6" y="133"/>
                  <a:pt x="42" y="170"/>
                  <a:pt x="88" y="170"/>
                </a:cubicBezTo>
                <a:cubicBezTo>
                  <a:pt x="133" y="170"/>
                  <a:pt x="170" y="133"/>
                  <a:pt x="170" y="88"/>
                </a:cubicBezTo>
                <a:cubicBezTo>
                  <a:pt x="170" y="42"/>
                  <a:pt x="133" y="6"/>
                  <a:pt x="88" y="6"/>
                </a:cubicBezTo>
                <a:close/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2" name="Freeform 34">
            <a:extLst>
              <a:ext uri="{FF2B5EF4-FFF2-40B4-BE49-F238E27FC236}">
                <a16:creationId xmlns:a16="http://schemas.microsoft.com/office/drawing/2014/main" id="{83A5D6C0-9ED2-FD43-9B73-B20C76E631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0906" y="898107"/>
            <a:ext cx="378545" cy="52820"/>
          </a:xfrm>
          <a:custGeom>
            <a:avLst/>
            <a:gdLst>
              <a:gd name="T0" fmla="*/ 176 w 192"/>
              <a:gd name="T1" fmla="*/ 30 h 31"/>
              <a:gd name="T2" fmla="*/ 15 w 192"/>
              <a:gd name="T3" fmla="*/ 30 h 31"/>
              <a:gd name="T4" fmla="*/ 0 w 192"/>
              <a:gd name="T5" fmla="*/ 15 h 31"/>
              <a:gd name="T6" fmla="*/ 15 w 192"/>
              <a:gd name="T7" fmla="*/ 0 h 31"/>
              <a:gd name="T8" fmla="*/ 176 w 192"/>
              <a:gd name="T9" fmla="*/ 0 h 31"/>
              <a:gd name="T10" fmla="*/ 191 w 192"/>
              <a:gd name="T11" fmla="*/ 15 h 31"/>
              <a:gd name="T12" fmla="*/ 176 w 192"/>
              <a:gd name="T13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2" h="31">
                <a:moveTo>
                  <a:pt x="176" y="30"/>
                </a:moveTo>
                <a:lnTo>
                  <a:pt x="15" y="30"/>
                </a:lnTo>
                <a:cubicBezTo>
                  <a:pt x="7" y="30"/>
                  <a:pt x="0" y="23"/>
                  <a:pt x="0" y="15"/>
                </a:cubicBezTo>
                <a:cubicBezTo>
                  <a:pt x="0" y="7"/>
                  <a:pt x="7" y="0"/>
                  <a:pt x="15" y="0"/>
                </a:cubicBezTo>
                <a:lnTo>
                  <a:pt x="176" y="0"/>
                </a:lnTo>
                <a:cubicBezTo>
                  <a:pt x="184" y="0"/>
                  <a:pt x="191" y="7"/>
                  <a:pt x="191" y="15"/>
                </a:cubicBezTo>
                <a:cubicBezTo>
                  <a:pt x="191" y="23"/>
                  <a:pt x="184" y="30"/>
                  <a:pt x="176" y="30"/>
                </a:cubicBez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3" name="Freeform 35">
            <a:extLst>
              <a:ext uri="{FF2B5EF4-FFF2-40B4-BE49-F238E27FC236}">
                <a16:creationId xmlns:a16="http://schemas.microsoft.com/office/drawing/2014/main" id="{2636D68B-0036-DC42-9A77-C62D6D19E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59709" y="906910"/>
            <a:ext cx="352134" cy="26410"/>
          </a:xfrm>
          <a:custGeom>
            <a:avLst/>
            <a:gdLst>
              <a:gd name="T0" fmla="*/ 9 w 180"/>
              <a:gd name="T1" fmla="*/ 0 h 19"/>
              <a:gd name="T2" fmla="*/ 0 w 180"/>
              <a:gd name="T3" fmla="*/ 9 h 19"/>
              <a:gd name="T4" fmla="*/ 9 w 180"/>
              <a:gd name="T5" fmla="*/ 18 h 19"/>
              <a:gd name="T6" fmla="*/ 170 w 180"/>
              <a:gd name="T7" fmla="*/ 18 h 19"/>
              <a:gd name="T8" fmla="*/ 179 w 180"/>
              <a:gd name="T9" fmla="*/ 9 h 19"/>
              <a:gd name="T10" fmla="*/ 170 w 180"/>
              <a:gd name="T11" fmla="*/ 0 h 19"/>
              <a:gd name="T12" fmla="*/ 9 w 180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0" h="19">
                <a:moveTo>
                  <a:pt x="9" y="0"/>
                </a:moveTo>
                <a:cubicBezTo>
                  <a:pt x="4" y="0"/>
                  <a:pt x="0" y="4"/>
                  <a:pt x="0" y="9"/>
                </a:cubicBezTo>
                <a:cubicBezTo>
                  <a:pt x="0" y="14"/>
                  <a:pt x="4" y="18"/>
                  <a:pt x="9" y="18"/>
                </a:cubicBezTo>
                <a:lnTo>
                  <a:pt x="170" y="18"/>
                </a:lnTo>
                <a:cubicBezTo>
                  <a:pt x="175" y="18"/>
                  <a:pt x="179" y="14"/>
                  <a:pt x="179" y="9"/>
                </a:cubicBezTo>
                <a:cubicBezTo>
                  <a:pt x="179" y="4"/>
                  <a:pt x="175" y="0"/>
                  <a:pt x="170" y="0"/>
                </a:cubicBezTo>
                <a:lnTo>
                  <a:pt x="9" y="0"/>
                </a:ln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4" name="Freeform 36">
            <a:extLst>
              <a:ext uri="{FF2B5EF4-FFF2-40B4-BE49-F238E27FC236}">
                <a16:creationId xmlns:a16="http://schemas.microsoft.com/office/drawing/2014/main" id="{1A420E53-5CE1-694B-A04E-C91C6DC435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6035" y="889303"/>
            <a:ext cx="79230" cy="79230"/>
          </a:xfrm>
          <a:custGeom>
            <a:avLst/>
            <a:gdLst>
              <a:gd name="T0" fmla="*/ 43 w 44"/>
              <a:gd name="T1" fmla="*/ 21 h 43"/>
              <a:gd name="T2" fmla="*/ 40 w 44"/>
              <a:gd name="T3" fmla="*/ 32 h 43"/>
              <a:gd name="T4" fmla="*/ 32 w 44"/>
              <a:gd name="T5" fmla="*/ 40 h 43"/>
              <a:gd name="T6" fmla="*/ 21 w 44"/>
              <a:gd name="T7" fmla="*/ 42 h 43"/>
              <a:gd name="T8" fmla="*/ 11 w 44"/>
              <a:gd name="T9" fmla="*/ 40 h 43"/>
              <a:gd name="T10" fmla="*/ 3 w 44"/>
              <a:gd name="T11" fmla="*/ 32 h 43"/>
              <a:gd name="T12" fmla="*/ 0 w 44"/>
              <a:gd name="T13" fmla="*/ 21 h 43"/>
              <a:gd name="T14" fmla="*/ 3 w 44"/>
              <a:gd name="T15" fmla="*/ 10 h 43"/>
              <a:gd name="T16" fmla="*/ 11 w 44"/>
              <a:gd name="T17" fmla="*/ 2 h 43"/>
              <a:gd name="T18" fmla="*/ 21 w 44"/>
              <a:gd name="T19" fmla="*/ 0 h 43"/>
              <a:gd name="T20" fmla="*/ 32 w 44"/>
              <a:gd name="T21" fmla="*/ 2 h 43"/>
              <a:gd name="T22" fmla="*/ 40 w 44"/>
              <a:gd name="T23" fmla="*/ 10 h 43"/>
              <a:gd name="T24" fmla="*/ 43 w 44"/>
              <a:gd name="T25" fmla="*/ 2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4" h="43">
                <a:moveTo>
                  <a:pt x="43" y="21"/>
                </a:moveTo>
                <a:cubicBezTo>
                  <a:pt x="43" y="25"/>
                  <a:pt x="42" y="29"/>
                  <a:pt x="40" y="32"/>
                </a:cubicBezTo>
                <a:cubicBezTo>
                  <a:pt x="38" y="36"/>
                  <a:pt x="35" y="38"/>
                  <a:pt x="32" y="40"/>
                </a:cubicBezTo>
                <a:cubicBezTo>
                  <a:pt x="29" y="42"/>
                  <a:pt x="25" y="42"/>
                  <a:pt x="21" y="42"/>
                </a:cubicBezTo>
                <a:cubicBezTo>
                  <a:pt x="17" y="42"/>
                  <a:pt x="14" y="42"/>
                  <a:pt x="11" y="40"/>
                </a:cubicBezTo>
                <a:cubicBezTo>
                  <a:pt x="7" y="38"/>
                  <a:pt x="5" y="36"/>
                  <a:pt x="3" y="32"/>
                </a:cubicBezTo>
                <a:cubicBezTo>
                  <a:pt x="1" y="29"/>
                  <a:pt x="0" y="25"/>
                  <a:pt x="0" y="21"/>
                </a:cubicBezTo>
                <a:cubicBezTo>
                  <a:pt x="0" y="17"/>
                  <a:pt x="1" y="14"/>
                  <a:pt x="3" y="10"/>
                </a:cubicBezTo>
                <a:cubicBezTo>
                  <a:pt x="5" y="7"/>
                  <a:pt x="7" y="4"/>
                  <a:pt x="11" y="2"/>
                </a:cubicBezTo>
                <a:cubicBezTo>
                  <a:pt x="14" y="0"/>
                  <a:pt x="17" y="0"/>
                  <a:pt x="21" y="0"/>
                </a:cubicBezTo>
                <a:cubicBezTo>
                  <a:pt x="25" y="0"/>
                  <a:pt x="29" y="0"/>
                  <a:pt x="32" y="2"/>
                </a:cubicBezTo>
                <a:cubicBezTo>
                  <a:pt x="35" y="4"/>
                  <a:pt x="38" y="7"/>
                  <a:pt x="40" y="10"/>
                </a:cubicBezTo>
                <a:cubicBezTo>
                  <a:pt x="42" y="14"/>
                  <a:pt x="43" y="17"/>
                  <a:pt x="43" y="21"/>
                </a:cubicBez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5" name="Freeform 37">
            <a:extLst>
              <a:ext uri="{FF2B5EF4-FFF2-40B4-BE49-F238E27FC236}">
                <a16:creationId xmlns:a16="http://schemas.microsoft.com/office/drawing/2014/main" id="{22E92E6B-B0E9-D84B-8AF9-BC727E733D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4839" y="898107"/>
            <a:ext cx="52820" cy="52820"/>
          </a:xfrm>
          <a:custGeom>
            <a:avLst/>
            <a:gdLst>
              <a:gd name="T0" fmla="*/ 31 w 32"/>
              <a:gd name="T1" fmla="*/ 16 h 33"/>
              <a:gd name="T2" fmla="*/ 29 w 32"/>
              <a:gd name="T3" fmla="*/ 24 h 33"/>
              <a:gd name="T4" fmla="*/ 23 w 32"/>
              <a:gd name="T5" fmla="*/ 30 h 33"/>
              <a:gd name="T6" fmla="*/ 15 w 32"/>
              <a:gd name="T7" fmla="*/ 32 h 33"/>
              <a:gd name="T8" fmla="*/ 7 w 32"/>
              <a:gd name="T9" fmla="*/ 30 h 33"/>
              <a:gd name="T10" fmla="*/ 2 w 32"/>
              <a:gd name="T11" fmla="*/ 24 h 33"/>
              <a:gd name="T12" fmla="*/ 0 w 32"/>
              <a:gd name="T13" fmla="*/ 16 h 33"/>
              <a:gd name="T14" fmla="*/ 2 w 32"/>
              <a:gd name="T15" fmla="*/ 8 h 33"/>
              <a:gd name="T16" fmla="*/ 7 w 32"/>
              <a:gd name="T17" fmla="*/ 2 h 33"/>
              <a:gd name="T18" fmla="*/ 15 w 32"/>
              <a:gd name="T19" fmla="*/ 0 h 33"/>
              <a:gd name="T20" fmla="*/ 23 w 32"/>
              <a:gd name="T21" fmla="*/ 2 h 33"/>
              <a:gd name="T22" fmla="*/ 29 w 32"/>
              <a:gd name="T23" fmla="*/ 8 h 33"/>
              <a:gd name="T24" fmla="*/ 31 w 32"/>
              <a:gd name="T25" fmla="*/ 1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2" h="33">
                <a:moveTo>
                  <a:pt x="31" y="16"/>
                </a:moveTo>
                <a:cubicBezTo>
                  <a:pt x="31" y="19"/>
                  <a:pt x="30" y="22"/>
                  <a:pt x="29" y="24"/>
                </a:cubicBezTo>
                <a:cubicBezTo>
                  <a:pt x="27" y="27"/>
                  <a:pt x="25" y="29"/>
                  <a:pt x="23" y="30"/>
                </a:cubicBezTo>
                <a:cubicBezTo>
                  <a:pt x="20" y="32"/>
                  <a:pt x="18" y="32"/>
                  <a:pt x="15" y="32"/>
                </a:cubicBezTo>
                <a:cubicBezTo>
                  <a:pt x="12" y="32"/>
                  <a:pt x="9" y="32"/>
                  <a:pt x="7" y="30"/>
                </a:cubicBezTo>
                <a:cubicBezTo>
                  <a:pt x="4" y="29"/>
                  <a:pt x="3" y="27"/>
                  <a:pt x="2" y="24"/>
                </a:cubicBezTo>
                <a:cubicBezTo>
                  <a:pt x="0" y="22"/>
                  <a:pt x="0" y="19"/>
                  <a:pt x="0" y="16"/>
                </a:cubicBezTo>
                <a:cubicBezTo>
                  <a:pt x="0" y="13"/>
                  <a:pt x="0" y="11"/>
                  <a:pt x="2" y="8"/>
                </a:cubicBezTo>
                <a:cubicBezTo>
                  <a:pt x="3" y="6"/>
                  <a:pt x="4" y="4"/>
                  <a:pt x="7" y="2"/>
                </a:cubicBezTo>
                <a:cubicBezTo>
                  <a:pt x="9" y="1"/>
                  <a:pt x="12" y="0"/>
                  <a:pt x="15" y="0"/>
                </a:cubicBezTo>
                <a:cubicBezTo>
                  <a:pt x="18" y="0"/>
                  <a:pt x="20" y="1"/>
                  <a:pt x="23" y="2"/>
                </a:cubicBezTo>
                <a:cubicBezTo>
                  <a:pt x="25" y="4"/>
                  <a:pt x="27" y="6"/>
                  <a:pt x="29" y="8"/>
                </a:cubicBezTo>
                <a:cubicBezTo>
                  <a:pt x="30" y="11"/>
                  <a:pt x="31" y="13"/>
                  <a:pt x="31" y="16"/>
                </a:cubicBez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6" name="Freeform 38">
            <a:extLst>
              <a:ext uri="{FF2B5EF4-FFF2-40B4-BE49-F238E27FC236}">
                <a16:creationId xmlns:a16="http://schemas.microsoft.com/office/drawing/2014/main" id="{F8650BEF-456A-1C4E-BC6D-D228C1B0F4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9367" y="766056"/>
            <a:ext cx="52820" cy="52820"/>
          </a:xfrm>
          <a:custGeom>
            <a:avLst/>
            <a:gdLst>
              <a:gd name="T0" fmla="*/ 16 w 32"/>
              <a:gd name="T1" fmla="*/ 31 h 32"/>
              <a:gd name="T2" fmla="*/ 0 w 32"/>
              <a:gd name="T3" fmla="*/ 16 h 32"/>
              <a:gd name="T4" fmla="*/ 16 w 32"/>
              <a:gd name="T5" fmla="*/ 0 h 32"/>
              <a:gd name="T6" fmla="*/ 31 w 32"/>
              <a:gd name="T7" fmla="*/ 16 h 32"/>
              <a:gd name="T8" fmla="*/ 16 w 32"/>
              <a:gd name="T9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" h="32">
                <a:moveTo>
                  <a:pt x="16" y="31"/>
                </a:moveTo>
                <a:cubicBezTo>
                  <a:pt x="7" y="31"/>
                  <a:pt x="0" y="24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4" y="0"/>
                  <a:pt x="31" y="7"/>
                  <a:pt x="31" y="16"/>
                </a:cubicBezTo>
                <a:cubicBezTo>
                  <a:pt x="31" y="24"/>
                  <a:pt x="24" y="31"/>
                  <a:pt x="16" y="31"/>
                </a:cubicBez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sp>
        <p:nvSpPr>
          <p:cNvPr id="27" name="Freeform 39">
            <a:extLst>
              <a:ext uri="{FF2B5EF4-FFF2-40B4-BE49-F238E27FC236}">
                <a16:creationId xmlns:a16="http://schemas.microsoft.com/office/drawing/2014/main" id="{5ED35CF4-4ADA-9C4F-B8A1-0130989F8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18170" y="774860"/>
            <a:ext cx="35213" cy="35213"/>
          </a:xfrm>
          <a:custGeom>
            <a:avLst/>
            <a:gdLst>
              <a:gd name="T0" fmla="*/ 10 w 20"/>
              <a:gd name="T1" fmla="*/ 0 h 20"/>
              <a:gd name="T2" fmla="*/ 0 w 20"/>
              <a:gd name="T3" fmla="*/ 10 h 20"/>
              <a:gd name="T4" fmla="*/ 10 w 20"/>
              <a:gd name="T5" fmla="*/ 19 h 20"/>
              <a:gd name="T6" fmla="*/ 19 w 20"/>
              <a:gd name="T7" fmla="*/ 10 h 20"/>
              <a:gd name="T8" fmla="*/ 10 w 20"/>
              <a:gd name="T9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20">
                <a:moveTo>
                  <a:pt x="10" y="0"/>
                </a:moveTo>
                <a:cubicBezTo>
                  <a:pt x="4" y="0"/>
                  <a:pt x="0" y="5"/>
                  <a:pt x="0" y="10"/>
                </a:cubicBezTo>
                <a:cubicBezTo>
                  <a:pt x="0" y="15"/>
                  <a:pt x="4" y="19"/>
                  <a:pt x="10" y="19"/>
                </a:cubicBezTo>
                <a:cubicBezTo>
                  <a:pt x="15" y="19"/>
                  <a:pt x="19" y="15"/>
                  <a:pt x="19" y="10"/>
                </a:cubicBezTo>
                <a:cubicBezTo>
                  <a:pt x="19" y="5"/>
                  <a:pt x="15" y="0"/>
                  <a:pt x="10" y="0"/>
                </a:cubicBezTo>
              </a:path>
            </a:pathLst>
          </a:custGeom>
          <a:solidFill>
            <a:srgbClr val="3D3D4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b="0" i="0">
              <a:latin typeface="Arial Regular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D4DC120-4A10-CE45-8976-170789D6F814}"/>
              </a:ext>
            </a:extLst>
          </p:cNvPr>
          <p:cNvGrpSpPr/>
          <p:nvPr/>
        </p:nvGrpSpPr>
        <p:grpSpPr>
          <a:xfrm>
            <a:off x="9270334" y="1417505"/>
            <a:ext cx="26410" cy="651449"/>
            <a:chOff x="9282691" y="1417505"/>
            <a:chExt cx="26410" cy="651449"/>
          </a:xfrm>
        </p:grpSpPr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56011E36-4E89-CE46-8336-F89037F53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2691" y="1804853"/>
              <a:ext cx="26410" cy="264101"/>
            </a:xfrm>
            <a:custGeom>
              <a:avLst/>
              <a:gdLst>
                <a:gd name="T0" fmla="*/ 0 w 18"/>
                <a:gd name="T1" fmla="*/ 133 h 136"/>
                <a:gd name="T2" fmla="*/ 0 w 18"/>
                <a:gd name="T3" fmla="*/ 2 h 136"/>
                <a:gd name="T4" fmla="*/ 3 w 18"/>
                <a:gd name="T5" fmla="*/ 0 h 136"/>
                <a:gd name="T6" fmla="*/ 6 w 18"/>
                <a:gd name="T7" fmla="*/ 0 h 136"/>
                <a:gd name="T8" fmla="*/ 17 w 18"/>
                <a:gd name="T9" fmla="*/ 12 h 136"/>
                <a:gd name="T10" fmla="*/ 17 w 18"/>
                <a:gd name="T11" fmla="*/ 122 h 136"/>
                <a:gd name="T12" fmla="*/ 6 w 18"/>
                <a:gd name="T13" fmla="*/ 135 h 136"/>
                <a:gd name="T14" fmla="*/ 3 w 18"/>
                <a:gd name="T15" fmla="*/ 135 h 136"/>
                <a:gd name="T16" fmla="*/ 0 w 18"/>
                <a:gd name="T17" fmla="*/ 13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36">
                  <a:moveTo>
                    <a:pt x="0" y="133"/>
                  </a:moveTo>
                  <a:lnTo>
                    <a:pt x="0" y="2"/>
                  </a:lnTo>
                  <a:cubicBezTo>
                    <a:pt x="0" y="1"/>
                    <a:pt x="2" y="0"/>
                    <a:pt x="3" y="0"/>
                  </a:cubicBezTo>
                  <a:lnTo>
                    <a:pt x="6" y="0"/>
                  </a:lnTo>
                  <a:cubicBezTo>
                    <a:pt x="12" y="0"/>
                    <a:pt x="17" y="6"/>
                    <a:pt x="17" y="12"/>
                  </a:cubicBezTo>
                  <a:lnTo>
                    <a:pt x="17" y="122"/>
                  </a:lnTo>
                  <a:cubicBezTo>
                    <a:pt x="17" y="129"/>
                    <a:pt x="12" y="135"/>
                    <a:pt x="6" y="135"/>
                  </a:cubicBezTo>
                  <a:lnTo>
                    <a:pt x="3" y="135"/>
                  </a:lnTo>
                  <a:cubicBezTo>
                    <a:pt x="2" y="135"/>
                    <a:pt x="0" y="134"/>
                    <a:pt x="0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DAEE1DBA-4990-9646-93F3-BE88E8E545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1494" y="1813657"/>
              <a:ext cx="8803" cy="246494"/>
            </a:xfrm>
            <a:custGeom>
              <a:avLst/>
              <a:gdLst>
                <a:gd name="T0" fmla="*/ 0 w 7"/>
                <a:gd name="T1" fmla="*/ 125 h 126"/>
                <a:gd name="T2" fmla="*/ 0 w 7"/>
                <a:gd name="T3" fmla="*/ 125 h 126"/>
                <a:gd name="T4" fmla="*/ 6 w 7"/>
                <a:gd name="T5" fmla="*/ 117 h 126"/>
                <a:gd name="T6" fmla="*/ 6 w 7"/>
                <a:gd name="T7" fmla="*/ 7 h 126"/>
                <a:gd name="T8" fmla="*/ 0 w 7"/>
                <a:gd name="T9" fmla="*/ 0 h 126"/>
                <a:gd name="T10" fmla="*/ 0 w 7"/>
                <a:gd name="T11" fmla="*/ 0 h 126"/>
                <a:gd name="T12" fmla="*/ 0 w 7"/>
                <a:gd name="T13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6">
                  <a:moveTo>
                    <a:pt x="0" y="125"/>
                  </a:moveTo>
                  <a:lnTo>
                    <a:pt x="0" y="125"/>
                  </a:lnTo>
                  <a:cubicBezTo>
                    <a:pt x="3" y="125"/>
                    <a:pt x="6" y="122"/>
                    <a:pt x="6" y="117"/>
                  </a:cubicBezTo>
                  <a:lnTo>
                    <a:pt x="6" y="7"/>
                  </a:lnTo>
                  <a:cubicBezTo>
                    <a:pt x="6" y="3"/>
                    <a:pt x="3" y="0"/>
                    <a:pt x="0" y="0"/>
                  </a:cubicBezTo>
                  <a:lnTo>
                    <a:pt x="0" y="0"/>
                  </a:lnTo>
                  <a:lnTo>
                    <a:pt x="0" y="125"/>
                  </a:lnTo>
                </a:path>
              </a:pathLst>
            </a:custGeom>
            <a:solidFill>
              <a:srgbClr val="BDBD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0" name="Freeform 42">
              <a:extLst>
                <a:ext uri="{FF2B5EF4-FFF2-40B4-BE49-F238E27FC236}">
                  <a16:creationId xmlns:a16="http://schemas.microsoft.com/office/drawing/2014/main" id="{9FADAF08-D4B0-5949-9865-44B676F749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82691" y="1417505"/>
              <a:ext cx="26410" cy="264101"/>
            </a:xfrm>
            <a:custGeom>
              <a:avLst/>
              <a:gdLst>
                <a:gd name="T0" fmla="*/ 0 w 18"/>
                <a:gd name="T1" fmla="*/ 133 h 137"/>
                <a:gd name="T2" fmla="*/ 0 w 18"/>
                <a:gd name="T3" fmla="*/ 3 h 137"/>
                <a:gd name="T4" fmla="*/ 3 w 18"/>
                <a:gd name="T5" fmla="*/ 0 h 137"/>
                <a:gd name="T6" fmla="*/ 6 w 18"/>
                <a:gd name="T7" fmla="*/ 0 h 137"/>
                <a:gd name="T8" fmla="*/ 17 w 18"/>
                <a:gd name="T9" fmla="*/ 13 h 137"/>
                <a:gd name="T10" fmla="*/ 17 w 18"/>
                <a:gd name="T11" fmla="*/ 123 h 137"/>
                <a:gd name="T12" fmla="*/ 6 w 18"/>
                <a:gd name="T13" fmla="*/ 136 h 137"/>
                <a:gd name="T14" fmla="*/ 3 w 18"/>
                <a:gd name="T15" fmla="*/ 136 h 137"/>
                <a:gd name="T16" fmla="*/ 0 w 18"/>
                <a:gd name="T17" fmla="*/ 13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37">
                  <a:moveTo>
                    <a:pt x="0" y="133"/>
                  </a:moveTo>
                  <a:lnTo>
                    <a:pt x="0" y="3"/>
                  </a:lnTo>
                  <a:cubicBezTo>
                    <a:pt x="0" y="1"/>
                    <a:pt x="2" y="0"/>
                    <a:pt x="3" y="0"/>
                  </a:cubicBezTo>
                  <a:lnTo>
                    <a:pt x="6" y="0"/>
                  </a:lnTo>
                  <a:cubicBezTo>
                    <a:pt x="12" y="0"/>
                    <a:pt x="17" y="6"/>
                    <a:pt x="17" y="13"/>
                  </a:cubicBezTo>
                  <a:lnTo>
                    <a:pt x="17" y="123"/>
                  </a:lnTo>
                  <a:cubicBezTo>
                    <a:pt x="17" y="130"/>
                    <a:pt x="12" y="136"/>
                    <a:pt x="6" y="136"/>
                  </a:cubicBezTo>
                  <a:lnTo>
                    <a:pt x="3" y="136"/>
                  </a:lnTo>
                  <a:cubicBezTo>
                    <a:pt x="2" y="136"/>
                    <a:pt x="0" y="134"/>
                    <a:pt x="0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1" name="Freeform 43">
              <a:extLst>
                <a:ext uri="{FF2B5EF4-FFF2-40B4-BE49-F238E27FC236}">
                  <a16:creationId xmlns:a16="http://schemas.microsoft.com/office/drawing/2014/main" id="{3ECE2885-CBB6-864C-805B-17111DA051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1494" y="1426309"/>
              <a:ext cx="8803" cy="246494"/>
            </a:xfrm>
            <a:custGeom>
              <a:avLst/>
              <a:gdLst>
                <a:gd name="T0" fmla="*/ 0 w 7"/>
                <a:gd name="T1" fmla="*/ 125 h 126"/>
                <a:gd name="T2" fmla="*/ 0 w 7"/>
                <a:gd name="T3" fmla="*/ 125 h 126"/>
                <a:gd name="T4" fmla="*/ 6 w 7"/>
                <a:gd name="T5" fmla="*/ 118 h 126"/>
                <a:gd name="T6" fmla="*/ 6 w 7"/>
                <a:gd name="T7" fmla="*/ 8 h 126"/>
                <a:gd name="T8" fmla="*/ 0 w 7"/>
                <a:gd name="T9" fmla="*/ 0 h 126"/>
                <a:gd name="T10" fmla="*/ 0 w 7"/>
                <a:gd name="T11" fmla="*/ 0 h 126"/>
                <a:gd name="T12" fmla="*/ 0 w 7"/>
                <a:gd name="T13" fmla="*/ 12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126">
                  <a:moveTo>
                    <a:pt x="0" y="125"/>
                  </a:moveTo>
                  <a:lnTo>
                    <a:pt x="0" y="125"/>
                  </a:lnTo>
                  <a:cubicBezTo>
                    <a:pt x="3" y="125"/>
                    <a:pt x="6" y="122"/>
                    <a:pt x="6" y="118"/>
                  </a:cubicBezTo>
                  <a:lnTo>
                    <a:pt x="6" y="8"/>
                  </a:lnTo>
                  <a:cubicBezTo>
                    <a:pt x="6" y="4"/>
                    <a:pt x="3" y="0"/>
                    <a:pt x="0" y="0"/>
                  </a:cubicBezTo>
                  <a:lnTo>
                    <a:pt x="0" y="0"/>
                  </a:lnTo>
                  <a:lnTo>
                    <a:pt x="0" y="125"/>
                  </a:lnTo>
                </a:path>
              </a:pathLst>
            </a:custGeom>
            <a:solidFill>
              <a:srgbClr val="BDBD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7DEE6BB-F44B-294A-8F5E-5B2F620F9431}"/>
              </a:ext>
            </a:extLst>
          </p:cNvPr>
          <p:cNvGrpSpPr/>
          <p:nvPr/>
        </p:nvGrpSpPr>
        <p:grpSpPr>
          <a:xfrm>
            <a:off x="8543209" y="536038"/>
            <a:ext cx="316921" cy="26410"/>
            <a:chOff x="8543209" y="519562"/>
            <a:chExt cx="316921" cy="26410"/>
          </a:xfrm>
        </p:grpSpPr>
        <p:sp>
          <p:nvSpPr>
            <p:cNvPr id="32" name="Freeform 44">
              <a:extLst>
                <a:ext uri="{FF2B5EF4-FFF2-40B4-BE49-F238E27FC236}">
                  <a16:creationId xmlns:a16="http://schemas.microsoft.com/office/drawing/2014/main" id="{E12893A0-885B-8247-84A4-7426BE45C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43209" y="519562"/>
              <a:ext cx="316921" cy="26410"/>
            </a:xfrm>
            <a:custGeom>
              <a:avLst/>
              <a:gdLst>
                <a:gd name="T0" fmla="*/ 160 w 164"/>
                <a:gd name="T1" fmla="*/ 17 h 18"/>
                <a:gd name="T2" fmla="*/ 2 w 164"/>
                <a:gd name="T3" fmla="*/ 17 h 18"/>
                <a:gd name="T4" fmla="*/ 0 w 164"/>
                <a:gd name="T5" fmla="*/ 15 h 18"/>
                <a:gd name="T6" fmla="*/ 0 w 164"/>
                <a:gd name="T7" fmla="*/ 11 h 18"/>
                <a:gd name="T8" fmla="*/ 12 w 164"/>
                <a:gd name="T9" fmla="*/ 0 h 18"/>
                <a:gd name="T10" fmla="*/ 150 w 164"/>
                <a:gd name="T11" fmla="*/ 0 h 18"/>
                <a:gd name="T12" fmla="*/ 163 w 164"/>
                <a:gd name="T13" fmla="*/ 11 h 18"/>
                <a:gd name="T14" fmla="*/ 163 w 164"/>
                <a:gd name="T15" fmla="*/ 15 h 18"/>
                <a:gd name="T16" fmla="*/ 160 w 164"/>
                <a:gd name="T17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4" h="18">
                  <a:moveTo>
                    <a:pt x="160" y="17"/>
                  </a:moveTo>
                  <a:lnTo>
                    <a:pt x="2" y="17"/>
                  </a:lnTo>
                  <a:cubicBezTo>
                    <a:pt x="1" y="17"/>
                    <a:pt x="0" y="16"/>
                    <a:pt x="0" y="15"/>
                  </a:cubicBezTo>
                  <a:lnTo>
                    <a:pt x="0" y="11"/>
                  </a:lnTo>
                  <a:cubicBezTo>
                    <a:pt x="0" y="6"/>
                    <a:pt x="6" y="0"/>
                    <a:pt x="12" y="0"/>
                  </a:cubicBezTo>
                  <a:lnTo>
                    <a:pt x="150" y="0"/>
                  </a:lnTo>
                  <a:cubicBezTo>
                    <a:pt x="157" y="0"/>
                    <a:pt x="163" y="6"/>
                    <a:pt x="163" y="11"/>
                  </a:cubicBezTo>
                  <a:lnTo>
                    <a:pt x="163" y="15"/>
                  </a:lnTo>
                  <a:cubicBezTo>
                    <a:pt x="163" y="16"/>
                    <a:pt x="162" y="17"/>
                    <a:pt x="160" y="17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3" name="Freeform 45">
              <a:extLst>
                <a:ext uri="{FF2B5EF4-FFF2-40B4-BE49-F238E27FC236}">
                  <a16:creationId xmlns:a16="http://schemas.microsoft.com/office/drawing/2014/main" id="{F572BD81-F749-494C-A89C-D5F8FCBE63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0815" y="528365"/>
              <a:ext cx="288000" cy="8803"/>
            </a:xfrm>
            <a:custGeom>
              <a:avLst/>
              <a:gdLst>
                <a:gd name="T0" fmla="*/ 152 w 153"/>
                <a:gd name="T1" fmla="*/ 6 h 7"/>
                <a:gd name="T2" fmla="*/ 152 w 153"/>
                <a:gd name="T3" fmla="*/ 5 h 7"/>
                <a:gd name="T4" fmla="*/ 145 w 153"/>
                <a:gd name="T5" fmla="*/ 0 h 7"/>
                <a:gd name="T6" fmla="*/ 7 w 153"/>
                <a:gd name="T7" fmla="*/ 0 h 7"/>
                <a:gd name="T8" fmla="*/ 0 w 153"/>
                <a:gd name="T9" fmla="*/ 5 h 7"/>
                <a:gd name="T10" fmla="*/ 0 w 153"/>
                <a:gd name="T11" fmla="*/ 6 h 7"/>
                <a:gd name="T12" fmla="*/ 152 w 153"/>
                <a:gd name="T1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7">
                  <a:moveTo>
                    <a:pt x="152" y="6"/>
                  </a:moveTo>
                  <a:lnTo>
                    <a:pt x="152" y="5"/>
                  </a:lnTo>
                  <a:cubicBezTo>
                    <a:pt x="152" y="3"/>
                    <a:pt x="149" y="0"/>
                    <a:pt x="145" y="0"/>
                  </a:cubicBezTo>
                  <a:lnTo>
                    <a:pt x="7" y="0"/>
                  </a:lnTo>
                  <a:cubicBezTo>
                    <a:pt x="3" y="0"/>
                    <a:pt x="0" y="3"/>
                    <a:pt x="0" y="5"/>
                  </a:cubicBezTo>
                  <a:lnTo>
                    <a:pt x="0" y="6"/>
                  </a:lnTo>
                  <a:lnTo>
                    <a:pt x="152" y="6"/>
                  </a:lnTo>
                </a:path>
              </a:pathLst>
            </a:custGeom>
            <a:solidFill>
              <a:srgbClr val="BDBDB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7" y="362822"/>
            <a:ext cx="3518086" cy="1066952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228" y="1889754"/>
            <a:ext cx="3518086" cy="4161307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D33E993-928E-F44D-B587-9D2C78A19744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6757082" y="1182877"/>
            <a:ext cx="2358000" cy="4201200"/>
          </a:xfrm>
          <a:prstGeom prst="roundRect">
            <a:avLst>
              <a:gd name="adj" fmla="val 0"/>
            </a:avLst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46FD0D5-614B-BA4F-9D9C-B282D05392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4ED8B87F-E3B5-1C4E-ADBA-E06757BBAA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404833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 Cond" panose="020B0506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835387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Pad Mockup [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0">
            <a:extLst>
              <a:ext uri="{FF2B5EF4-FFF2-40B4-BE49-F238E27FC236}">
                <a16:creationId xmlns:a16="http://schemas.microsoft.com/office/drawing/2014/main" id="{DDB6938C-0BE9-0C46-828C-2711A38BE1C7}"/>
              </a:ext>
            </a:extLst>
          </p:cNvPr>
          <p:cNvGrpSpPr>
            <a:grpSpLocks/>
          </p:cNvGrpSpPr>
          <p:nvPr/>
        </p:nvGrpSpPr>
        <p:grpSpPr bwMode="auto">
          <a:xfrm>
            <a:off x="2940050" y="1328173"/>
            <a:ext cx="6311900" cy="8921446"/>
            <a:chOff x="2996" y="2917"/>
            <a:chExt cx="670" cy="947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97989A7D-7185-6441-8F15-F6ACCE80F3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6" y="2921"/>
              <a:ext cx="667" cy="943"/>
            </a:xfrm>
            <a:custGeom>
              <a:avLst/>
              <a:gdLst>
                <a:gd name="T0" fmla="*/ 2763 w 2946"/>
                <a:gd name="T1" fmla="*/ 4160 h 4161"/>
                <a:gd name="T2" fmla="*/ 182 w 2946"/>
                <a:gd name="T3" fmla="*/ 4160 h 4161"/>
                <a:gd name="T4" fmla="*/ 0 w 2946"/>
                <a:gd name="T5" fmla="*/ 3978 h 4161"/>
                <a:gd name="T6" fmla="*/ 0 w 2946"/>
                <a:gd name="T7" fmla="*/ 182 h 4161"/>
                <a:gd name="T8" fmla="*/ 182 w 2946"/>
                <a:gd name="T9" fmla="*/ 0 h 4161"/>
                <a:gd name="T10" fmla="*/ 2763 w 2946"/>
                <a:gd name="T11" fmla="*/ 0 h 4161"/>
                <a:gd name="T12" fmla="*/ 2945 w 2946"/>
                <a:gd name="T13" fmla="*/ 182 h 4161"/>
                <a:gd name="T14" fmla="*/ 2945 w 2946"/>
                <a:gd name="T15" fmla="*/ 3978 h 4161"/>
                <a:gd name="T16" fmla="*/ 2763 w 2946"/>
                <a:gd name="T17" fmla="*/ 4160 h 4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46" h="4161">
                  <a:moveTo>
                    <a:pt x="2763" y="4160"/>
                  </a:moveTo>
                  <a:lnTo>
                    <a:pt x="182" y="4160"/>
                  </a:lnTo>
                  <a:cubicBezTo>
                    <a:pt x="82" y="4160"/>
                    <a:pt x="0" y="4079"/>
                    <a:pt x="0" y="3978"/>
                  </a:cubicBezTo>
                  <a:lnTo>
                    <a:pt x="0" y="182"/>
                  </a:lnTo>
                  <a:cubicBezTo>
                    <a:pt x="0" y="82"/>
                    <a:pt x="82" y="0"/>
                    <a:pt x="182" y="0"/>
                  </a:cubicBezTo>
                  <a:lnTo>
                    <a:pt x="2763" y="0"/>
                  </a:lnTo>
                  <a:cubicBezTo>
                    <a:pt x="2863" y="0"/>
                    <a:pt x="2945" y="82"/>
                    <a:pt x="2945" y="182"/>
                  </a:cubicBezTo>
                  <a:lnTo>
                    <a:pt x="2945" y="3978"/>
                  </a:lnTo>
                  <a:cubicBezTo>
                    <a:pt x="2945" y="4079"/>
                    <a:pt x="2863" y="4160"/>
                    <a:pt x="2763" y="416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D03BF979-22E8-A34A-99A5-6BF20C5A92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" y="2923"/>
              <a:ext cx="663" cy="939"/>
            </a:xfrm>
            <a:custGeom>
              <a:avLst/>
              <a:gdLst>
                <a:gd name="T0" fmla="*/ 174 w 2930"/>
                <a:gd name="T1" fmla="*/ 0 h 4145"/>
                <a:gd name="T2" fmla="*/ 0 w 2930"/>
                <a:gd name="T3" fmla="*/ 174 h 4145"/>
                <a:gd name="T4" fmla="*/ 0 w 2930"/>
                <a:gd name="T5" fmla="*/ 3970 h 4145"/>
                <a:gd name="T6" fmla="*/ 174 w 2930"/>
                <a:gd name="T7" fmla="*/ 4144 h 4145"/>
                <a:gd name="T8" fmla="*/ 2755 w 2930"/>
                <a:gd name="T9" fmla="*/ 4144 h 4145"/>
                <a:gd name="T10" fmla="*/ 2929 w 2930"/>
                <a:gd name="T11" fmla="*/ 3970 h 4145"/>
                <a:gd name="T12" fmla="*/ 2929 w 2930"/>
                <a:gd name="T13" fmla="*/ 174 h 4145"/>
                <a:gd name="T14" fmla="*/ 2755 w 2930"/>
                <a:gd name="T15" fmla="*/ 0 h 4145"/>
                <a:gd name="T16" fmla="*/ 174 w 2930"/>
                <a:gd name="T17" fmla="*/ 0 h 4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0" h="4145">
                  <a:moveTo>
                    <a:pt x="174" y="0"/>
                  </a:moveTo>
                  <a:cubicBezTo>
                    <a:pt x="78" y="0"/>
                    <a:pt x="0" y="78"/>
                    <a:pt x="0" y="174"/>
                  </a:cubicBezTo>
                  <a:lnTo>
                    <a:pt x="0" y="3970"/>
                  </a:lnTo>
                  <a:cubicBezTo>
                    <a:pt x="0" y="4066"/>
                    <a:pt x="78" y="4144"/>
                    <a:pt x="174" y="4144"/>
                  </a:cubicBezTo>
                  <a:lnTo>
                    <a:pt x="2755" y="4144"/>
                  </a:lnTo>
                  <a:cubicBezTo>
                    <a:pt x="2851" y="4144"/>
                    <a:pt x="2929" y="4066"/>
                    <a:pt x="2929" y="3970"/>
                  </a:cubicBezTo>
                  <a:lnTo>
                    <a:pt x="2929" y="174"/>
                  </a:lnTo>
                  <a:cubicBezTo>
                    <a:pt x="2929" y="78"/>
                    <a:pt x="2851" y="0"/>
                    <a:pt x="2755" y="0"/>
                  </a:cubicBezTo>
                  <a:lnTo>
                    <a:pt x="17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DC73FC85-81C3-A44E-A519-2DFB6D77F6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3006"/>
              <a:ext cx="579" cy="773"/>
            </a:xfrm>
            <a:custGeom>
              <a:avLst/>
              <a:gdLst>
                <a:gd name="T0" fmla="*/ 2553 w 2558"/>
                <a:gd name="T1" fmla="*/ 3410 h 3411"/>
                <a:gd name="T2" fmla="*/ 4 w 2558"/>
                <a:gd name="T3" fmla="*/ 3410 h 3411"/>
                <a:gd name="T4" fmla="*/ 0 w 2558"/>
                <a:gd name="T5" fmla="*/ 3406 h 3411"/>
                <a:gd name="T6" fmla="*/ 0 w 2558"/>
                <a:gd name="T7" fmla="*/ 5 h 3411"/>
                <a:gd name="T8" fmla="*/ 4 w 2558"/>
                <a:gd name="T9" fmla="*/ 0 h 3411"/>
                <a:gd name="T10" fmla="*/ 2553 w 2558"/>
                <a:gd name="T11" fmla="*/ 0 h 3411"/>
                <a:gd name="T12" fmla="*/ 2557 w 2558"/>
                <a:gd name="T13" fmla="*/ 5 h 3411"/>
                <a:gd name="T14" fmla="*/ 2557 w 2558"/>
                <a:gd name="T15" fmla="*/ 3406 h 3411"/>
                <a:gd name="T16" fmla="*/ 2553 w 2558"/>
                <a:gd name="T17" fmla="*/ 3410 h 3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8" h="3411">
                  <a:moveTo>
                    <a:pt x="2553" y="3410"/>
                  </a:moveTo>
                  <a:lnTo>
                    <a:pt x="4" y="3410"/>
                  </a:lnTo>
                  <a:cubicBezTo>
                    <a:pt x="2" y="3410"/>
                    <a:pt x="0" y="3408"/>
                    <a:pt x="0" y="3406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2553" y="0"/>
                  </a:lnTo>
                  <a:cubicBezTo>
                    <a:pt x="2555" y="0"/>
                    <a:pt x="2557" y="2"/>
                    <a:pt x="2557" y="5"/>
                  </a:cubicBezTo>
                  <a:lnTo>
                    <a:pt x="2557" y="3406"/>
                  </a:lnTo>
                  <a:cubicBezTo>
                    <a:pt x="2557" y="3408"/>
                    <a:pt x="2555" y="3410"/>
                    <a:pt x="2553" y="34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0853C71D-53F2-3F49-A3D0-BC3757509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3794"/>
              <a:ext cx="49" cy="48"/>
            </a:xfrm>
            <a:custGeom>
              <a:avLst/>
              <a:gdLst>
                <a:gd name="T0" fmla="*/ 109 w 219"/>
                <a:gd name="T1" fmla="*/ 217 h 218"/>
                <a:gd name="T2" fmla="*/ 0 w 219"/>
                <a:gd name="T3" fmla="*/ 108 h 218"/>
                <a:gd name="T4" fmla="*/ 109 w 219"/>
                <a:gd name="T5" fmla="*/ 0 h 218"/>
                <a:gd name="T6" fmla="*/ 218 w 219"/>
                <a:gd name="T7" fmla="*/ 108 h 218"/>
                <a:gd name="T8" fmla="*/ 109 w 219"/>
                <a:gd name="T9" fmla="*/ 217 h 218"/>
                <a:gd name="T10" fmla="*/ 109 w 219"/>
                <a:gd name="T11" fmla="*/ 8 h 218"/>
                <a:gd name="T12" fmla="*/ 9 w 219"/>
                <a:gd name="T13" fmla="*/ 108 h 218"/>
                <a:gd name="T14" fmla="*/ 109 w 219"/>
                <a:gd name="T15" fmla="*/ 208 h 218"/>
                <a:gd name="T16" fmla="*/ 209 w 219"/>
                <a:gd name="T17" fmla="*/ 108 h 218"/>
                <a:gd name="T18" fmla="*/ 109 w 219"/>
                <a:gd name="T19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218">
                  <a:moveTo>
                    <a:pt x="109" y="217"/>
                  </a:moveTo>
                  <a:cubicBezTo>
                    <a:pt x="49" y="217"/>
                    <a:pt x="0" y="168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8"/>
                  </a:moveTo>
                  <a:cubicBezTo>
                    <a:pt x="54" y="8"/>
                    <a:pt x="9" y="53"/>
                    <a:pt x="9" y="108"/>
                  </a:cubicBezTo>
                  <a:cubicBezTo>
                    <a:pt x="9" y="163"/>
                    <a:pt x="54" y="208"/>
                    <a:pt x="109" y="208"/>
                  </a:cubicBezTo>
                  <a:cubicBezTo>
                    <a:pt x="164" y="208"/>
                    <a:pt x="209" y="163"/>
                    <a:pt x="209" y="108"/>
                  </a:cubicBezTo>
                  <a:cubicBezTo>
                    <a:pt x="209" y="53"/>
                    <a:pt x="164" y="8"/>
                    <a:pt x="109" y="8"/>
                  </a:cubicBezTo>
                  <a:close/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396411E7-3623-1140-BAC4-707F8715A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2" y="2961"/>
              <a:ext cx="15" cy="15"/>
            </a:xfrm>
            <a:custGeom>
              <a:avLst/>
              <a:gdLst>
                <a:gd name="T0" fmla="*/ 34 w 69"/>
                <a:gd name="T1" fmla="*/ 68 h 69"/>
                <a:gd name="T2" fmla="*/ 0 w 69"/>
                <a:gd name="T3" fmla="*/ 34 h 69"/>
                <a:gd name="T4" fmla="*/ 34 w 69"/>
                <a:gd name="T5" fmla="*/ 0 h 69"/>
                <a:gd name="T6" fmla="*/ 68 w 69"/>
                <a:gd name="T7" fmla="*/ 34 h 69"/>
                <a:gd name="T8" fmla="*/ 34 w 69"/>
                <a:gd name="T9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37F58325-07EB-A045-AB8B-A2DBB9776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" y="2963"/>
              <a:ext cx="11" cy="11"/>
            </a:xfrm>
            <a:custGeom>
              <a:avLst/>
              <a:gdLst>
                <a:gd name="T0" fmla="*/ 26 w 53"/>
                <a:gd name="T1" fmla="*/ 0 h 52"/>
                <a:gd name="T2" fmla="*/ 0 w 53"/>
                <a:gd name="T3" fmla="*/ 25 h 52"/>
                <a:gd name="T4" fmla="*/ 26 w 53"/>
                <a:gd name="T5" fmla="*/ 51 h 52"/>
                <a:gd name="T6" fmla="*/ 52 w 53"/>
                <a:gd name="T7" fmla="*/ 25 h 52"/>
                <a:gd name="T8" fmla="*/ 26 w 5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0" y="39"/>
                    <a:pt x="12" y="51"/>
                    <a:pt x="26" y="51"/>
                  </a:cubicBezTo>
                  <a:cubicBezTo>
                    <a:pt x="40" y="51"/>
                    <a:pt x="52" y="39"/>
                    <a:pt x="52" y="25"/>
                  </a:cubicBezTo>
                  <a:cubicBezTo>
                    <a:pt x="52" y="11"/>
                    <a:pt x="40" y="0"/>
                    <a:pt x="26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107D6B03-9D8A-B441-B128-356D690CF5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90"/>
              <a:ext cx="4" cy="31"/>
            </a:xfrm>
            <a:custGeom>
              <a:avLst/>
              <a:gdLst>
                <a:gd name="T0" fmla="*/ 8 w 24"/>
                <a:gd name="T1" fmla="*/ 140 h 141"/>
                <a:gd name="T2" fmla="*/ 4 w 24"/>
                <a:gd name="T3" fmla="*/ 140 h 141"/>
                <a:gd name="T4" fmla="*/ 0 w 24"/>
                <a:gd name="T5" fmla="*/ 136 h 141"/>
                <a:gd name="T6" fmla="*/ 0 w 24"/>
                <a:gd name="T7" fmla="*/ 4 h 141"/>
                <a:gd name="T8" fmla="*/ 4 w 24"/>
                <a:gd name="T9" fmla="*/ 0 h 141"/>
                <a:gd name="T10" fmla="*/ 8 w 24"/>
                <a:gd name="T11" fmla="*/ 0 h 141"/>
                <a:gd name="T12" fmla="*/ 23 w 24"/>
                <a:gd name="T13" fmla="*/ 20 h 141"/>
                <a:gd name="T14" fmla="*/ 23 w 24"/>
                <a:gd name="T15" fmla="*/ 121 h 141"/>
                <a:gd name="T16" fmla="*/ 17 w 24"/>
                <a:gd name="T17" fmla="*/ 136 h 141"/>
                <a:gd name="T18" fmla="*/ 8 w 24"/>
                <a:gd name="T19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41">
                  <a:moveTo>
                    <a:pt x="8" y="140"/>
                  </a:moveTo>
                  <a:lnTo>
                    <a:pt x="4" y="140"/>
                  </a:lnTo>
                  <a:cubicBezTo>
                    <a:pt x="1" y="140"/>
                    <a:pt x="0" y="139"/>
                    <a:pt x="0" y="136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21"/>
                  </a:lnTo>
                  <a:cubicBezTo>
                    <a:pt x="23" y="127"/>
                    <a:pt x="21" y="132"/>
                    <a:pt x="17" y="136"/>
                  </a:cubicBezTo>
                  <a:cubicBezTo>
                    <a:pt x="15" y="139"/>
                    <a:pt x="11" y="140"/>
                    <a:pt x="8" y="14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C17CD0B7-FC68-F947-9F3F-FA824C2E6F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92"/>
              <a:ext cx="1" cy="27"/>
            </a:xfrm>
            <a:custGeom>
              <a:avLst/>
              <a:gdLst>
                <a:gd name="T0" fmla="*/ 0 w 8"/>
                <a:gd name="T1" fmla="*/ 0 h 125"/>
                <a:gd name="T2" fmla="*/ 0 w 8"/>
                <a:gd name="T3" fmla="*/ 124 h 125"/>
                <a:gd name="T4" fmla="*/ 4 w 8"/>
                <a:gd name="T5" fmla="*/ 122 h 125"/>
                <a:gd name="T6" fmla="*/ 7 w 8"/>
                <a:gd name="T7" fmla="*/ 113 h 125"/>
                <a:gd name="T8" fmla="*/ 7 w 8"/>
                <a:gd name="T9" fmla="*/ 12 h 125"/>
                <a:gd name="T10" fmla="*/ 0 w 8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5">
                  <a:moveTo>
                    <a:pt x="0" y="0"/>
                  </a:moveTo>
                  <a:lnTo>
                    <a:pt x="0" y="124"/>
                  </a:lnTo>
                  <a:cubicBezTo>
                    <a:pt x="1" y="124"/>
                    <a:pt x="3" y="123"/>
                    <a:pt x="4" y="122"/>
                  </a:cubicBezTo>
                  <a:cubicBezTo>
                    <a:pt x="6" y="120"/>
                    <a:pt x="7" y="117"/>
                    <a:pt x="7" y="113"/>
                  </a:cubicBezTo>
                  <a:lnTo>
                    <a:pt x="7" y="12"/>
                  </a:lnTo>
                  <a:cubicBezTo>
                    <a:pt x="7" y="5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151DB9B7-0007-8045-A9C2-EE330B21D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40"/>
              <a:ext cx="4" cy="29"/>
            </a:xfrm>
            <a:custGeom>
              <a:avLst/>
              <a:gdLst>
                <a:gd name="T0" fmla="*/ 8 w 24"/>
                <a:gd name="T1" fmla="*/ 133 h 134"/>
                <a:gd name="T2" fmla="*/ 4 w 24"/>
                <a:gd name="T3" fmla="*/ 133 h 134"/>
                <a:gd name="T4" fmla="*/ 0 w 24"/>
                <a:gd name="T5" fmla="*/ 129 h 134"/>
                <a:gd name="T6" fmla="*/ 0 w 24"/>
                <a:gd name="T7" fmla="*/ 4 h 134"/>
                <a:gd name="T8" fmla="*/ 4 w 24"/>
                <a:gd name="T9" fmla="*/ 0 h 134"/>
                <a:gd name="T10" fmla="*/ 8 w 24"/>
                <a:gd name="T11" fmla="*/ 0 h 134"/>
                <a:gd name="T12" fmla="*/ 23 w 24"/>
                <a:gd name="T13" fmla="*/ 20 h 134"/>
                <a:gd name="T14" fmla="*/ 23 w 24"/>
                <a:gd name="T15" fmla="*/ 114 h 134"/>
                <a:gd name="T16" fmla="*/ 17 w 24"/>
                <a:gd name="T17" fmla="*/ 129 h 134"/>
                <a:gd name="T18" fmla="*/ 8 w 24"/>
                <a:gd name="T19" fmla="*/ 13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34">
                  <a:moveTo>
                    <a:pt x="8" y="133"/>
                  </a:moveTo>
                  <a:lnTo>
                    <a:pt x="4" y="133"/>
                  </a:lnTo>
                  <a:cubicBezTo>
                    <a:pt x="1" y="133"/>
                    <a:pt x="0" y="131"/>
                    <a:pt x="0" y="129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14"/>
                  </a:lnTo>
                  <a:cubicBezTo>
                    <a:pt x="23" y="120"/>
                    <a:pt x="21" y="125"/>
                    <a:pt x="17" y="129"/>
                  </a:cubicBezTo>
                  <a:cubicBezTo>
                    <a:pt x="15" y="132"/>
                    <a:pt x="11" y="133"/>
                    <a:pt x="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80D0320A-E583-6441-9D8F-86B42C3C4A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2"/>
              <a:ext cx="1" cy="26"/>
            </a:xfrm>
            <a:custGeom>
              <a:avLst/>
              <a:gdLst>
                <a:gd name="T0" fmla="*/ 0 w 8"/>
                <a:gd name="T1" fmla="*/ 0 h 118"/>
                <a:gd name="T2" fmla="*/ 0 w 8"/>
                <a:gd name="T3" fmla="*/ 117 h 118"/>
                <a:gd name="T4" fmla="*/ 4 w 8"/>
                <a:gd name="T5" fmla="*/ 115 h 118"/>
                <a:gd name="T6" fmla="*/ 7 w 8"/>
                <a:gd name="T7" fmla="*/ 106 h 118"/>
                <a:gd name="T8" fmla="*/ 7 w 8"/>
                <a:gd name="T9" fmla="*/ 12 h 118"/>
                <a:gd name="T10" fmla="*/ 0 w 8"/>
                <a:gd name="T11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8">
                  <a:moveTo>
                    <a:pt x="0" y="0"/>
                  </a:moveTo>
                  <a:lnTo>
                    <a:pt x="0" y="117"/>
                  </a:lnTo>
                  <a:cubicBezTo>
                    <a:pt x="1" y="117"/>
                    <a:pt x="3" y="116"/>
                    <a:pt x="4" y="115"/>
                  </a:cubicBezTo>
                  <a:cubicBezTo>
                    <a:pt x="6" y="113"/>
                    <a:pt x="7" y="110"/>
                    <a:pt x="7" y="106"/>
                  </a:cubicBezTo>
                  <a:lnTo>
                    <a:pt x="7" y="12"/>
                  </a:lnTo>
                  <a:cubicBezTo>
                    <a:pt x="7" y="6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B0FD078F-829F-D04E-89A9-C4F7F3EF05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" y="2917"/>
              <a:ext cx="52" cy="5"/>
            </a:xfrm>
            <a:custGeom>
              <a:avLst/>
              <a:gdLst>
                <a:gd name="T0" fmla="*/ 230 w 235"/>
                <a:gd name="T1" fmla="*/ 25 h 26"/>
                <a:gd name="T2" fmla="*/ 4 w 235"/>
                <a:gd name="T3" fmla="*/ 25 h 26"/>
                <a:gd name="T4" fmla="*/ 0 w 235"/>
                <a:gd name="T5" fmla="*/ 21 h 26"/>
                <a:gd name="T6" fmla="*/ 0 w 235"/>
                <a:gd name="T7" fmla="*/ 15 h 26"/>
                <a:gd name="T8" fmla="*/ 19 w 235"/>
                <a:gd name="T9" fmla="*/ 0 h 26"/>
                <a:gd name="T10" fmla="*/ 214 w 235"/>
                <a:gd name="T11" fmla="*/ 0 h 26"/>
                <a:gd name="T12" fmla="*/ 234 w 235"/>
                <a:gd name="T13" fmla="*/ 15 h 26"/>
                <a:gd name="T14" fmla="*/ 234 w 235"/>
                <a:gd name="T15" fmla="*/ 21 h 26"/>
                <a:gd name="T16" fmla="*/ 230 w 23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26">
                  <a:moveTo>
                    <a:pt x="230" y="25"/>
                  </a:moveTo>
                  <a:lnTo>
                    <a:pt x="4" y="25"/>
                  </a:lnTo>
                  <a:cubicBezTo>
                    <a:pt x="2" y="25"/>
                    <a:pt x="0" y="24"/>
                    <a:pt x="0" y="21"/>
                  </a:cubicBezTo>
                  <a:lnTo>
                    <a:pt x="0" y="15"/>
                  </a:lnTo>
                  <a:cubicBezTo>
                    <a:pt x="0" y="7"/>
                    <a:pt x="9" y="0"/>
                    <a:pt x="19" y="0"/>
                  </a:cubicBezTo>
                  <a:lnTo>
                    <a:pt x="214" y="0"/>
                  </a:lnTo>
                  <a:cubicBezTo>
                    <a:pt x="225" y="0"/>
                    <a:pt x="234" y="7"/>
                    <a:pt x="234" y="15"/>
                  </a:cubicBezTo>
                  <a:lnTo>
                    <a:pt x="234" y="21"/>
                  </a:lnTo>
                  <a:cubicBezTo>
                    <a:pt x="234" y="24"/>
                    <a:pt x="232" y="25"/>
                    <a:pt x="230" y="2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A76A6B02-7461-4B42-9E12-C08BD4ACE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8" y="2919"/>
              <a:ext cx="49" cy="1"/>
            </a:xfrm>
            <a:custGeom>
              <a:avLst/>
              <a:gdLst>
                <a:gd name="T0" fmla="*/ 0 w 219"/>
                <a:gd name="T1" fmla="*/ 9 h 10"/>
                <a:gd name="T2" fmla="*/ 218 w 219"/>
                <a:gd name="T3" fmla="*/ 9 h 10"/>
                <a:gd name="T4" fmla="*/ 218 w 219"/>
                <a:gd name="T5" fmla="*/ 7 h 10"/>
                <a:gd name="T6" fmla="*/ 206 w 219"/>
                <a:gd name="T7" fmla="*/ 0 h 10"/>
                <a:gd name="T8" fmla="*/ 11 w 219"/>
                <a:gd name="T9" fmla="*/ 0 h 10"/>
                <a:gd name="T10" fmla="*/ 0 w 219"/>
                <a:gd name="T11" fmla="*/ 7 h 10"/>
                <a:gd name="T12" fmla="*/ 0 w 219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10">
                  <a:moveTo>
                    <a:pt x="0" y="9"/>
                  </a:moveTo>
                  <a:lnTo>
                    <a:pt x="218" y="9"/>
                  </a:lnTo>
                  <a:lnTo>
                    <a:pt x="218" y="7"/>
                  </a:lnTo>
                  <a:cubicBezTo>
                    <a:pt x="218" y="3"/>
                    <a:pt x="212" y="0"/>
                    <a:pt x="206" y="0"/>
                  </a:cubicBezTo>
                  <a:lnTo>
                    <a:pt x="11" y="0"/>
                  </a:lnTo>
                  <a:cubicBezTo>
                    <a:pt x="5" y="0"/>
                    <a:pt x="0" y="3"/>
                    <a:pt x="0" y="7"/>
                  </a:cubicBez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356882"/>
            <a:ext cx="10944224" cy="1066952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2E61543A-D4BA-704B-BAD0-6823048C8497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3332777" y="2151287"/>
            <a:ext cx="5486400" cy="4758331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033EE87-1248-1D40-A596-9277D3C16E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5225C46-9126-F446-AE0A-A745F63FB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192A0A6-605C-BD44-B94D-ECD4237C92EF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20893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67A5D15-F593-2E4D-8964-74E38D7FADE6}"/>
              </a:ext>
            </a:extLst>
          </p:cNvPr>
          <p:cNvCxnSpPr>
            <a:cxnSpLocks/>
          </p:cNvCxnSpPr>
          <p:nvPr/>
        </p:nvCxnSpPr>
        <p:spPr>
          <a:xfrm>
            <a:off x="9486250" y="6315077"/>
            <a:ext cx="20893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 27">
            <a:extLst>
              <a:ext uri="{FF2B5EF4-FFF2-40B4-BE49-F238E27FC236}">
                <a16:creationId xmlns:a16="http://schemas.microsoft.com/office/drawing/2014/main" id="{8EED144A-0932-C046-AE67-D2065DD44AD6}"/>
              </a:ext>
            </a:extLst>
          </p:cNvPr>
          <p:cNvSpPr/>
          <p:nvPr/>
        </p:nvSpPr>
        <p:spPr>
          <a:xfrm>
            <a:off x="11575088" y="229719"/>
            <a:ext cx="342372" cy="211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102"/>
                </a:moveTo>
                <a:cubicBezTo>
                  <a:pt x="21600" y="7710"/>
                  <a:pt x="20450" y="5516"/>
                  <a:pt x="18233" y="5516"/>
                </a:cubicBezTo>
                <a:cubicBezTo>
                  <a:pt x="15995" y="5516"/>
                  <a:pt x="15995" y="5516"/>
                  <a:pt x="15995" y="5516"/>
                </a:cubicBezTo>
                <a:cubicBezTo>
                  <a:pt x="15995" y="9836"/>
                  <a:pt x="15995" y="9836"/>
                  <a:pt x="15995" y="9836"/>
                </a:cubicBezTo>
                <a:cubicBezTo>
                  <a:pt x="13079" y="9836"/>
                  <a:pt x="13079" y="9836"/>
                  <a:pt x="13079" y="9836"/>
                </a:cubicBezTo>
                <a:cubicBezTo>
                  <a:pt x="11909" y="13359"/>
                  <a:pt x="11909" y="13359"/>
                  <a:pt x="11909" y="13359"/>
                </a:cubicBezTo>
                <a:cubicBezTo>
                  <a:pt x="10677" y="9836"/>
                  <a:pt x="10677" y="9836"/>
                  <a:pt x="10677" y="9836"/>
                </a:cubicBezTo>
                <a:cubicBezTo>
                  <a:pt x="9116" y="9836"/>
                  <a:pt x="9116" y="9836"/>
                  <a:pt x="9116" y="9836"/>
                </a:cubicBezTo>
                <a:cubicBezTo>
                  <a:pt x="9301" y="9039"/>
                  <a:pt x="9383" y="8208"/>
                  <a:pt x="9383" y="7377"/>
                </a:cubicBezTo>
                <a:cubicBezTo>
                  <a:pt x="9383" y="7311"/>
                  <a:pt x="9383" y="7311"/>
                  <a:pt x="9383" y="7311"/>
                </a:cubicBezTo>
                <a:cubicBezTo>
                  <a:pt x="9383" y="5350"/>
                  <a:pt x="8911" y="3489"/>
                  <a:pt x="8049" y="2127"/>
                </a:cubicBezTo>
                <a:cubicBezTo>
                  <a:pt x="7166" y="764"/>
                  <a:pt x="5995" y="0"/>
                  <a:pt x="4702" y="0"/>
                </a:cubicBezTo>
                <a:cubicBezTo>
                  <a:pt x="3408" y="0"/>
                  <a:pt x="2217" y="764"/>
                  <a:pt x="1335" y="2160"/>
                </a:cubicBezTo>
                <a:cubicBezTo>
                  <a:pt x="924" y="2825"/>
                  <a:pt x="575" y="3622"/>
                  <a:pt x="349" y="4486"/>
                </a:cubicBezTo>
                <a:cubicBezTo>
                  <a:pt x="103" y="5383"/>
                  <a:pt x="0" y="6347"/>
                  <a:pt x="0" y="7377"/>
                </a:cubicBezTo>
                <a:cubicBezTo>
                  <a:pt x="0" y="7410"/>
                  <a:pt x="0" y="7410"/>
                  <a:pt x="0" y="7410"/>
                </a:cubicBezTo>
                <a:cubicBezTo>
                  <a:pt x="0" y="9371"/>
                  <a:pt x="472" y="11232"/>
                  <a:pt x="1335" y="12594"/>
                </a:cubicBezTo>
                <a:cubicBezTo>
                  <a:pt x="2197" y="13957"/>
                  <a:pt x="3408" y="14721"/>
                  <a:pt x="4681" y="14721"/>
                </a:cubicBezTo>
                <a:cubicBezTo>
                  <a:pt x="5831" y="14721"/>
                  <a:pt x="6899" y="14123"/>
                  <a:pt x="7741" y="13026"/>
                </a:cubicBezTo>
                <a:cubicBezTo>
                  <a:pt x="7741" y="21600"/>
                  <a:pt x="7741" y="21600"/>
                  <a:pt x="7741" y="21600"/>
                </a:cubicBezTo>
                <a:cubicBezTo>
                  <a:pt x="10307" y="21600"/>
                  <a:pt x="10307" y="21600"/>
                  <a:pt x="10307" y="21600"/>
                </a:cubicBezTo>
                <a:cubicBezTo>
                  <a:pt x="10307" y="16782"/>
                  <a:pt x="10307" y="16782"/>
                  <a:pt x="10307" y="16782"/>
                </a:cubicBezTo>
                <a:cubicBezTo>
                  <a:pt x="11909" y="20470"/>
                  <a:pt x="11909" y="20470"/>
                  <a:pt x="11909" y="20470"/>
                </a:cubicBezTo>
                <a:cubicBezTo>
                  <a:pt x="13449" y="16782"/>
                  <a:pt x="13449" y="16782"/>
                  <a:pt x="13449" y="16782"/>
                </a:cubicBezTo>
                <a:cubicBezTo>
                  <a:pt x="13449" y="21600"/>
                  <a:pt x="13449" y="21600"/>
                  <a:pt x="13449" y="21600"/>
                </a:cubicBezTo>
                <a:cubicBezTo>
                  <a:pt x="16015" y="21600"/>
                  <a:pt x="16015" y="21600"/>
                  <a:pt x="16015" y="21600"/>
                </a:cubicBezTo>
                <a:cubicBezTo>
                  <a:pt x="16015" y="14954"/>
                  <a:pt x="16015" y="14954"/>
                  <a:pt x="16015" y="14954"/>
                </a:cubicBezTo>
                <a:cubicBezTo>
                  <a:pt x="18171" y="14954"/>
                  <a:pt x="18171" y="14954"/>
                  <a:pt x="18171" y="14954"/>
                </a:cubicBezTo>
                <a:cubicBezTo>
                  <a:pt x="20409" y="14954"/>
                  <a:pt x="21600" y="12927"/>
                  <a:pt x="21600" y="10235"/>
                </a:cubicBezTo>
                <a:lnTo>
                  <a:pt x="21600" y="10102"/>
                </a:lnTo>
                <a:close/>
                <a:moveTo>
                  <a:pt x="6180" y="7410"/>
                </a:moveTo>
                <a:cubicBezTo>
                  <a:pt x="6180" y="8673"/>
                  <a:pt x="5667" y="9903"/>
                  <a:pt x="4702" y="9903"/>
                </a:cubicBezTo>
                <a:cubicBezTo>
                  <a:pt x="3716" y="9903"/>
                  <a:pt x="3183" y="8673"/>
                  <a:pt x="3183" y="7377"/>
                </a:cubicBezTo>
                <a:cubicBezTo>
                  <a:pt x="3183" y="7311"/>
                  <a:pt x="3183" y="7311"/>
                  <a:pt x="3183" y="7311"/>
                </a:cubicBezTo>
                <a:cubicBezTo>
                  <a:pt x="3183" y="6048"/>
                  <a:pt x="3696" y="4785"/>
                  <a:pt x="4681" y="4785"/>
                </a:cubicBezTo>
                <a:cubicBezTo>
                  <a:pt x="5667" y="4785"/>
                  <a:pt x="6180" y="6015"/>
                  <a:pt x="6180" y="7377"/>
                </a:cubicBezTo>
                <a:lnTo>
                  <a:pt x="6180" y="7410"/>
                </a:lnTo>
                <a:close/>
                <a:moveTo>
                  <a:pt x="19629" y="10202"/>
                </a:moveTo>
                <a:cubicBezTo>
                  <a:pt x="19629" y="11365"/>
                  <a:pt x="19054" y="11863"/>
                  <a:pt x="18397" y="11863"/>
                </a:cubicBezTo>
                <a:cubicBezTo>
                  <a:pt x="18027" y="11863"/>
                  <a:pt x="18027" y="11863"/>
                  <a:pt x="18027" y="11863"/>
                </a:cubicBezTo>
                <a:cubicBezTo>
                  <a:pt x="18027" y="8507"/>
                  <a:pt x="18027" y="8507"/>
                  <a:pt x="18027" y="8507"/>
                </a:cubicBezTo>
                <a:cubicBezTo>
                  <a:pt x="18397" y="8507"/>
                  <a:pt x="18397" y="8507"/>
                  <a:pt x="18397" y="8507"/>
                </a:cubicBezTo>
                <a:cubicBezTo>
                  <a:pt x="19054" y="8507"/>
                  <a:pt x="19629" y="9039"/>
                  <a:pt x="19629" y="10169"/>
                </a:cubicBezTo>
                <a:lnTo>
                  <a:pt x="19629" y="1020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61094" tIns="61094" rIns="61094" bIns="61094"/>
          <a:lstStyle/>
          <a:p>
            <a:pPr marL="0" marR="0" lvl="0" indent="0" defTabSz="7822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D1D1D"/>
                </a:solidFill>
              </a:defRPr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4185997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Pad Mockup [2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10">
            <a:extLst>
              <a:ext uri="{FF2B5EF4-FFF2-40B4-BE49-F238E27FC236}">
                <a16:creationId xmlns:a16="http://schemas.microsoft.com/office/drawing/2014/main" id="{0027A83F-5C1C-D249-8786-9FBB757D459A}"/>
              </a:ext>
            </a:extLst>
          </p:cNvPr>
          <p:cNvGrpSpPr>
            <a:grpSpLocks/>
          </p:cNvGrpSpPr>
          <p:nvPr/>
        </p:nvGrpSpPr>
        <p:grpSpPr bwMode="auto">
          <a:xfrm>
            <a:off x="2940050" y="-1060013"/>
            <a:ext cx="6311900" cy="8921446"/>
            <a:chOff x="2996" y="2917"/>
            <a:chExt cx="670" cy="947"/>
          </a:xfrm>
        </p:grpSpPr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4661DB4C-67DE-C04F-BFCA-E5EE134574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6" y="2921"/>
              <a:ext cx="667" cy="943"/>
            </a:xfrm>
            <a:custGeom>
              <a:avLst/>
              <a:gdLst>
                <a:gd name="T0" fmla="*/ 2763 w 2946"/>
                <a:gd name="T1" fmla="*/ 4160 h 4161"/>
                <a:gd name="T2" fmla="*/ 182 w 2946"/>
                <a:gd name="T3" fmla="*/ 4160 h 4161"/>
                <a:gd name="T4" fmla="*/ 0 w 2946"/>
                <a:gd name="T5" fmla="*/ 3978 h 4161"/>
                <a:gd name="T6" fmla="*/ 0 w 2946"/>
                <a:gd name="T7" fmla="*/ 182 h 4161"/>
                <a:gd name="T8" fmla="*/ 182 w 2946"/>
                <a:gd name="T9" fmla="*/ 0 h 4161"/>
                <a:gd name="T10" fmla="*/ 2763 w 2946"/>
                <a:gd name="T11" fmla="*/ 0 h 4161"/>
                <a:gd name="T12" fmla="*/ 2945 w 2946"/>
                <a:gd name="T13" fmla="*/ 182 h 4161"/>
                <a:gd name="T14" fmla="*/ 2945 w 2946"/>
                <a:gd name="T15" fmla="*/ 3978 h 4161"/>
                <a:gd name="T16" fmla="*/ 2763 w 2946"/>
                <a:gd name="T17" fmla="*/ 4160 h 4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46" h="4161">
                  <a:moveTo>
                    <a:pt x="2763" y="4160"/>
                  </a:moveTo>
                  <a:lnTo>
                    <a:pt x="182" y="4160"/>
                  </a:lnTo>
                  <a:cubicBezTo>
                    <a:pt x="82" y="4160"/>
                    <a:pt x="0" y="4079"/>
                    <a:pt x="0" y="3978"/>
                  </a:cubicBezTo>
                  <a:lnTo>
                    <a:pt x="0" y="182"/>
                  </a:lnTo>
                  <a:cubicBezTo>
                    <a:pt x="0" y="82"/>
                    <a:pt x="82" y="0"/>
                    <a:pt x="182" y="0"/>
                  </a:cubicBezTo>
                  <a:lnTo>
                    <a:pt x="2763" y="0"/>
                  </a:lnTo>
                  <a:cubicBezTo>
                    <a:pt x="2863" y="0"/>
                    <a:pt x="2945" y="82"/>
                    <a:pt x="2945" y="182"/>
                  </a:cubicBezTo>
                  <a:lnTo>
                    <a:pt x="2945" y="3978"/>
                  </a:lnTo>
                  <a:cubicBezTo>
                    <a:pt x="2945" y="4079"/>
                    <a:pt x="2863" y="4160"/>
                    <a:pt x="2763" y="416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1F22911F-72CA-BA47-AB1A-DC19DEAA4CD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" y="2923"/>
              <a:ext cx="663" cy="939"/>
            </a:xfrm>
            <a:custGeom>
              <a:avLst/>
              <a:gdLst>
                <a:gd name="T0" fmla="*/ 174 w 2930"/>
                <a:gd name="T1" fmla="*/ 0 h 4145"/>
                <a:gd name="T2" fmla="*/ 0 w 2930"/>
                <a:gd name="T3" fmla="*/ 174 h 4145"/>
                <a:gd name="T4" fmla="*/ 0 w 2930"/>
                <a:gd name="T5" fmla="*/ 3970 h 4145"/>
                <a:gd name="T6" fmla="*/ 174 w 2930"/>
                <a:gd name="T7" fmla="*/ 4144 h 4145"/>
                <a:gd name="T8" fmla="*/ 2755 w 2930"/>
                <a:gd name="T9" fmla="*/ 4144 h 4145"/>
                <a:gd name="T10" fmla="*/ 2929 w 2930"/>
                <a:gd name="T11" fmla="*/ 3970 h 4145"/>
                <a:gd name="T12" fmla="*/ 2929 w 2930"/>
                <a:gd name="T13" fmla="*/ 174 h 4145"/>
                <a:gd name="T14" fmla="*/ 2755 w 2930"/>
                <a:gd name="T15" fmla="*/ 0 h 4145"/>
                <a:gd name="T16" fmla="*/ 174 w 2930"/>
                <a:gd name="T17" fmla="*/ 0 h 4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0" h="4145">
                  <a:moveTo>
                    <a:pt x="174" y="0"/>
                  </a:moveTo>
                  <a:cubicBezTo>
                    <a:pt x="78" y="0"/>
                    <a:pt x="0" y="78"/>
                    <a:pt x="0" y="174"/>
                  </a:cubicBezTo>
                  <a:lnTo>
                    <a:pt x="0" y="3970"/>
                  </a:lnTo>
                  <a:cubicBezTo>
                    <a:pt x="0" y="4066"/>
                    <a:pt x="78" y="4144"/>
                    <a:pt x="174" y="4144"/>
                  </a:cubicBezTo>
                  <a:lnTo>
                    <a:pt x="2755" y="4144"/>
                  </a:lnTo>
                  <a:cubicBezTo>
                    <a:pt x="2851" y="4144"/>
                    <a:pt x="2929" y="4066"/>
                    <a:pt x="2929" y="3970"/>
                  </a:cubicBezTo>
                  <a:lnTo>
                    <a:pt x="2929" y="174"/>
                  </a:lnTo>
                  <a:cubicBezTo>
                    <a:pt x="2929" y="78"/>
                    <a:pt x="2851" y="0"/>
                    <a:pt x="2755" y="0"/>
                  </a:cubicBezTo>
                  <a:lnTo>
                    <a:pt x="17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07D7B319-4FA9-5C41-9640-F81A5C4A1F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3006"/>
              <a:ext cx="579" cy="773"/>
            </a:xfrm>
            <a:custGeom>
              <a:avLst/>
              <a:gdLst>
                <a:gd name="T0" fmla="*/ 2553 w 2558"/>
                <a:gd name="T1" fmla="*/ 3410 h 3411"/>
                <a:gd name="T2" fmla="*/ 4 w 2558"/>
                <a:gd name="T3" fmla="*/ 3410 h 3411"/>
                <a:gd name="T4" fmla="*/ 0 w 2558"/>
                <a:gd name="T5" fmla="*/ 3406 h 3411"/>
                <a:gd name="T6" fmla="*/ 0 w 2558"/>
                <a:gd name="T7" fmla="*/ 5 h 3411"/>
                <a:gd name="T8" fmla="*/ 4 w 2558"/>
                <a:gd name="T9" fmla="*/ 0 h 3411"/>
                <a:gd name="T10" fmla="*/ 2553 w 2558"/>
                <a:gd name="T11" fmla="*/ 0 h 3411"/>
                <a:gd name="T12" fmla="*/ 2557 w 2558"/>
                <a:gd name="T13" fmla="*/ 5 h 3411"/>
                <a:gd name="T14" fmla="*/ 2557 w 2558"/>
                <a:gd name="T15" fmla="*/ 3406 h 3411"/>
                <a:gd name="T16" fmla="*/ 2553 w 2558"/>
                <a:gd name="T17" fmla="*/ 3410 h 3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8" h="3411">
                  <a:moveTo>
                    <a:pt x="2553" y="3410"/>
                  </a:moveTo>
                  <a:lnTo>
                    <a:pt x="4" y="3410"/>
                  </a:lnTo>
                  <a:cubicBezTo>
                    <a:pt x="2" y="3410"/>
                    <a:pt x="0" y="3408"/>
                    <a:pt x="0" y="3406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2553" y="0"/>
                  </a:lnTo>
                  <a:cubicBezTo>
                    <a:pt x="2555" y="0"/>
                    <a:pt x="2557" y="2"/>
                    <a:pt x="2557" y="5"/>
                  </a:cubicBezTo>
                  <a:lnTo>
                    <a:pt x="2557" y="3406"/>
                  </a:lnTo>
                  <a:cubicBezTo>
                    <a:pt x="2557" y="3408"/>
                    <a:pt x="2555" y="3410"/>
                    <a:pt x="2553" y="34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CB82C508-B580-6347-8419-EDE95829D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3794"/>
              <a:ext cx="49" cy="48"/>
            </a:xfrm>
            <a:custGeom>
              <a:avLst/>
              <a:gdLst>
                <a:gd name="T0" fmla="*/ 109 w 219"/>
                <a:gd name="T1" fmla="*/ 217 h 218"/>
                <a:gd name="T2" fmla="*/ 0 w 219"/>
                <a:gd name="T3" fmla="*/ 108 h 218"/>
                <a:gd name="T4" fmla="*/ 109 w 219"/>
                <a:gd name="T5" fmla="*/ 0 h 218"/>
                <a:gd name="T6" fmla="*/ 218 w 219"/>
                <a:gd name="T7" fmla="*/ 108 h 218"/>
                <a:gd name="T8" fmla="*/ 109 w 219"/>
                <a:gd name="T9" fmla="*/ 217 h 218"/>
                <a:gd name="T10" fmla="*/ 109 w 219"/>
                <a:gd name="T11" fmla="*/ 8 h 218"/>
                <a:gd name="T12" fmla="*/ 9 w 219"/>
                <a:gd name="T13" fmla="*/ 108 h 218"/>
                <a:gd name="T14" fmla="*/ 109 w 219"/>
                <a:gd name="T15" fmla="*/ 208 h 218"/>
                <a:gd name="T16" fmla="*/ 209 w 219"/>
                <a:gd name="T17" fmla="*/ 108 h 218"/>
                <a:gd name="T18" fmla="*/ 109 w 219"/>
                <a:gd name="T19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218">
                  <a:moveTo>
                    <a:pt x="109" y="217"/>
                  </a:moveTo>
                  <a:cubicBezTo>
                    <a:pt x="49" y="217"/>
                    <a:pt x="0" y="168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8"/>
                  </a:moveTo>
                  <a:cubicBezTo>
                    <a:pt x="54" y="8"/>
                    <a:pt x="9" y="53"/>
                    <a:pt x="9" y="108"/>
                  </a:cubicBezTo>
                  <a:cubicBezTo>
                    <a:pt x="9" y="163"/>
                    <a:pt x="54" y="208"/>
                    <a:pt x="109" y="208"/>
                  </a:cubicBezTo>
                  <a:cubicBezTo>
                    <a:pt x="164" y="208"/>
                    <a:pt x="209" y="163"/>
                    <a:pt x="209" y="108"/>
                  </a:cubicBezTo>
                  <a:cubicBezTo>
                    <a:pt x="209" y="53"/>
                    <a:pt x="164" y="8"/>
                    <a:pt x="109" y="8"/>
                  </a:cubicBezTo>
                  <a:close/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ADEC4D75-D42F-784F-9C4B-CEF932A458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2" y="2961"/>
              <a:ext cx="15" cy="15"/>
            </a:xfrm>
            <a:custGeom>
              <a:avLst/>
              <a:gdLst>
                <a:gd name="T0" fmla="*/ 34 w 69"/>
                <a:gd name="T1" fmla="*/ 68 h 69"/>
                <a:gd name="T2" fmla="*/ 0 w 69"/>
                <a:gd name="T3" fmla="*/ 34 h 69"/>
                <a:gd name="T4" fmla="*/ 34 w 69"/>
                <a:gd name="T5" fmla="*/ 0 h 69"/>
                <a:gd name="T6" fmla="*/ 68 w 69"/>
                <a:gd name="T7" fmla="*/ 34 h 69"/>
                <a:gd name="T8" fmla="*/ 34 w 69"/>
                <a:gd name="T9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890DB88D-C4F1-BE47-8B0F-DFBBF9A004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" y="2963"/>
              <a:ext cx="11" cy="11"/>
            </a:xfrm>
            <a:custGeom>
              <a:avLst/>
              <a:gdLst>
                <a:gd name="T0" fmla="*/ 26 w 53"/>
                <a:gd name="T1" fmla="*/ 0 h 52"/>
                <a:gd name="T2" fmla="*/ 0 w 53"/>
                <a:gd name="T3" fmla="*/ 25 h 52"/>
                <a:gd name="T4" fmla="*/ 26 w 53"/>
                <a:gd name="T5" fmla="*/ 51 h 52"/>
                <a:gd name="T6" fmla="*/ 52 w 53"/>
                <a:gd name="T7" fmla="*/ 25 h 52"/>
                <a:gd name="T8" fmla="*/ 26 w 5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0" y="39"/>
                    <a:pt x="12" y="51"/>
                    <a:pt x="26" y="51"/>
                  </a:cubicBezTo>
                  <a:cubicBezTo>
                    <a:pt x="40" y="51"/>
                    <a:pt x="52" y="39"/>
                    <a:pt x="52" y="25"/>
                  </a:cubicBezTo>
                  <a:cubicBezTo>
                    <a:pt x="52" y="11"/>
                    <a:pt x="40" y="0"/>
                    <a:pt x="26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58A3398B-F9FE-6D4A-B406-F92BBDBB96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90"/>
              <a:ext cx="4" cy="31"/>
            </a:xfrm>
            <a:custGeom>
              <a:avLst/>
              <a:gdLst>
                <a:gd name="T0" fmla="*/ 8 w 24"/>
                <a:gd name="T1" fmla="*/ 140 h 141"/>
                <a:gd name="T2" fmla="*/ 4 w 24"/>
                <a:gd name="T3" fmla="*/ 140 h 141"/>
                <a:gd name="T4" fmla="*/ 0 w 24"/>
                <a:gd name="T5" fmla="*/ 136 h 141"/>
                <a:gd name="T6" fmla="*/ 0 w 24"/>
                <a:gd name="T7" fmla="*/ 4 h 141"/>
                <a:gd name="T8" fmla="*/ 4 w 24"/>
                <a:gd name="T9" fmla="*/ 0 h 141"/>
                <a:gd name="T10" fmla="*/ 8 w 24"/>
                <a:gd name="T11" fmla="*/ 0 h 141"/>
                <a:gd name="T12" fmla="*/ 23 w 24"/>
                <a:gd name="T13" fmla="*/ 20 h 141"/>
                <a:gd name="T14" fmla="*/ 23 w 24"/>
                <a:gd name="T15" fmla="*/ 121 h 141"/>
                <a:gd name="T16" fmla="*/ 17 w 24"/>
                <a:gd name="T17" fmla="*/ 136 h 141"/>
                <a:gd name="T18" fmla="*/ 8 w 24"/>
                <a:gd name="T19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41">
                  <a:moveTo>
                    <a:pt x="8" y="140"/>
                  </a:moveTo>
                  <a:lnTo>
                    <a:pt x="4" y="140"/>
                  </a:lnTo>
                  <a:cubicBezTo>
                    <a:pt x="1" y="140"/>
                    <a:pt x="0" y="139"/>
                    <a:pt x="0" y="136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21"/>
                  </a:lnTo>
                  <a:cubicBezTo>
                    <a:pt x="23" y="127"/>
                    <a:pt x="21" y="132"/>
                    <a:pt x="17" y="136"/>
                  </a:cubicBezTo>
                  <a:cubicBezTo>
                    <a:pt x="15" y="139"/>
                    <a:pt x="11" y="140"/>
                    <a:pt x="8" y="14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FCD0E7EA-7713-BA49-A958-EE5582E59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92"/>
              <a:ext cx="1" cy="27"/>
            </a:xfrm>
            <a:custGeom>
              <a:avLst/>
              <a:gdLst>
                <a:gd name="T0" fmla="*/ 0 w 8"/>
                <a:gd name="T1" fmla="*/ 0 h 125"/>
                <a:gd name="T2" fmla="*/ 0 w 8"/>
                <a:gd name="T3" fmla="*/ 124 h 125"/>
                <a:gd name="T4" fmla="*/ 4 w 8"/>
                <a:gd name="T5" fmla="*/ 122 h 125"/>
                <a:gd name="T6" fmla="*/ 7 w 8"/>
                <a:gd name="T7" fmla="*/ 113 h 125"/>
                <a:gd name="T8" fmla="*/ 7 w 8"/>
                <a:gd name="T9" fmla="*/ 12 h 125"/>
                <a:gd name="T10" fmla="*/ 0 w 8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5">
                  <a:moveTo>
                    <a:pt x="0" y="0"/>
                  </a:moveTo>
                  <a:lnTo>
                    <a:pt x="0" y="124"/>
                  </a:lnTo>
                  <a:cubicBezTo>
                    <a:pt x="1" y="124"/>
                    <a:pt x="3" y="123"/>
                    <a:pt x="4" y="122"/>
                  </a:cubicBezTo>
                  <a:cubicBezTo>
                    <a:pt x="6" y="120"/>
                    <a:pt x="7" y="117"/>
                    <a:pt x="7" y="113"/>
                  </a:cubicBezTo>
                  <a:lnTo>
                    <a:pt x="7" y="12"/>
                  </a:lnTo>
                  <a:cubicBezTo>
                    <a:pt x="7" y="5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684F2FD0-8771-BC46-869F-79F5D7A17F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40"/>
              <a:ext cx="4" cy="29"/>
            </a:xfrm>
            <a:custGeom>
              <a:avLst/>
              <a:gdLst>
                <a:gd name="T0" fmla="*/ 8 w 24"/>
                <a:gd name="T1" fmla="*/ 133 h 134"/>
                <a:gd name="T2" fmla="*/ 4 w 24"/>
                <a:gd name="T3" fmla="*/ 133 h 134"/>
                <a:gd name="T4" fmla="*/ 0 w 24"/>
                <a:gd name="T5" fmla="*/ 129 h 134"/>
                <a:gd name="T6" fmla="*/ 0 w 24"/>
                <a:gd name="T7" fmla="*/ 4 h 134"/>
                <a:gd name="T8" fmla="*/ 4 w 24"/>
                <a:gd name="T9" fmla="*/ 0 h 134"/>
                <a:gd name="T10" fmla="*/ 8 w 24"/>
                <a:gd name="T11" fmla="*/ 0 h 134"/>
                <a:gd name="T12" fmla="*/ 23 w 24"/>
                <a:gd name="T13" fmla="*/ 20 h 134"/>
                <a:gd name="T14" fmla="*/ 23 w 24"/>
                <a:gd name="T15" fmla="*/ 114 h 134"/>
                <a:gd name="T16" fmla="*/ 17 w 24"/>
                <a:gd name="T17" fmla="*/ 129 h 134"/>
                <a:gd name="T18" fmla="*/ 8 w 24"/>
                <a:gd name="T19" fmla="*/ 13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34">
                  <a:moveTo>
                    <a:pt x="8" y="133"/>
                  </a:moveTo>
                  <a:lnTo>
                    <a:pt x="4" y="133"/>
                  </a:lnTo>
                  <a:cubicBezTo>
                    <a:pt x="1" y="133"/>
                    <a:pt x="0" y="131"/>
                    <a:pt x="0" y="129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14"/>
                  </a:lnTo>
                  <a:cubicBezTo>
                    <a:pt x="23" y="120"/>
                    <a:pt x="21" y="125"/>
                    <a:pt x="17" y="129"/>
                  </a:cubicBezTo>
                  <a:cubicBezTo>
                    <a:pt x="15" y="132"/>
                    <a:pt x="11" y="133"/>
                    <a:pt x="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D78AEBFF-57FB-CA4C-9D79-0E81E54630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2"/>
              <a:ext cx="1" cy="26"/>
            </a:xfrm>
            <a:custGeom>
              <a:avLst/>
              <a:gdLst>
                <a:gd name="T0" fmla="*/ 0 w 8"/>
                <a:gd name="T1" fmla="*/ 0 h 118"/>
                <a:gd name="T2" fmla="*/ 0 w 8"/>
                <a:gd name="T3" fmla="*/ 117 h 118"/>
                <a:gd name="T4" fmla="*/ 4 w 8"/>
                <a:gd name="T5" fmla="*/ 115 h 118"/>
                <a:gd name="T6" fmla="*/ 7 w 8"/>
                <a:gd name="T7" fmla="*/ 106 h 118"/>
                <a:gd name="T8" fmla="*/ 7 w 8"/>
                <a:gd name="T9" fmla="*/ 12 h 118"/>
                <a:gd name="T10" fmla="*/ 0 w 8"/>
                <a:gd name="T11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8">
                  <a:moveTo>
                    <a:pt x="0" y="0"/>
                  </a:moveTo>
                  <a:lnTo>
                    <a:pt x="0" y="117"/>
                  </a:lnTo>
                  <a:cubicBezTo>
                    <a:pt x="1" y="117"/>
                    <a:pt x="3" y="116"/>
                    <a:pt x="4" y="115"/>
                  </a:cubicBezTo>
                  <a:cubicBezTo>
                    <a:pt x="6" y="113"/>
                    <a:pt x="7" y="110"/>
                    <a:pt x="7" y="106"/>
                  </a:cubicBezTo>
                  <a:lnTo>
                    <a:pt x="7" y="12"/>
                  </a:lnTo>
                  <a:cubicBezTo>
                    <a:pt x="7" y="6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1" name="Freeform 21">
              <a:extLst>
                <a:ext uri="{FF2B5EF4-FFF2-40B4-BE49-F238E27FC236}">
                  <a16:creationId xmlns:a16="http://schemas.microsoft.com/office/drawing/2014/main" id="{EC46EA59-34BF-D441-A9A2-B6E4652F2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" y="2917"/>
              <a:ext cx="52" cy="5"/>
            </a:xfrm>
            <a:custGeom>
              <a:avLst/>
              <a:gdLst>
                <a:gd name="T0" fmla="*/ 230 w 235"/>
                <a:gd name="T1" fmla="*/ 25 h 26"/>
                <a:gd name="T2" fmla="*/ 4 w 235"/>
                <a:gd name="T3" fmla="*/ 25 h 26"/>
                <a:gd name="T4" fmla="*/ 0 w 235"/>
                <a:gd name="T5" fmla="*/ 21 h 26"/>
                <a:gd name="T6" fmla="*/ 0 w 235"/>
                <a:gd name="T7" fmla="*/ 15 h 26"/>
                <a:gd name="T8" fmla="*/ 19 w 235"/>
                <a:gd name="T9" fmla="*/ 0 h 26"/>
                <a:gd name="T10" fmla="*/ 214 w 235"/>
                <a:gd name="T11" fmla="*/ 0 h 26"/>
                <a:gd name="T12" fmla="*/ 234 w 235"/>
                <a:gd name="T13" fmla="*/ 15 h 26"/>
                <a:gd name="T14" fmla="*/ 234 w 235"/>
                <a:gd name="T15" fmla="*/ 21 h 26"/>
                <a:gd name="T16" fmla="*/ 230 w 23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26">
                  <a:moveTo>
                    <a:pt x="230" y="25"/>
                  </a:moveTo>
                  <a:lnTo>
                    <a:pt x="4" y="25"/>
                  </a:lnTo>
                  <a:cubicBezTo>
                    <a:pt x="2" y="25"/>
                    <a:pt x="0" y="24"/>
                    <a:pt x="0" y="21"/>
                  </a:cubicBezTo>
                  <a:lnTo>
                    <a:pt x="0" y="15"/>
                  </a:lnTo>
                  <a:cubicBezTo>
                    <a:pt x="0" y="7"/>
                    <a:pt x="9" y="0"/>
                    <a:pt x="19" y="0"/>
                  </a:cubicBezTo>
                  <a:lnTo>
                    <a:pt x="214" y="0"/>
                  </a:lnTo>
                  <a:cubicBezTo>
                    <a:pt x="225" y="0"/>
                    <a:pt x="234" y="7"/>
                    <a:pt x="234" y="15"/>
                  </a:cubicBezTo>
                  <a:lnTo>
                    <a:pt x="234" y="21"/>
                  </a:lnTo>
                  <a:cubicBezTo>
                    <a:pt x="234" y="24"/>
                    <a:pt x="232" y="25"/>
                    <a:pt x="230" y="2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2" name="Freeform 22">
              <a:extLst>
                <a:ext uri="{FF2B5EF4-FFF2-40B4-BE49-F238E27FC236}">
                  <a16:creationId xmlns:a16="http://schemas.microsoft.com/office/drawing/2014/main" id="{AA6AB5D8-2028-8349-936E-73919AAAD6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8" y="2919"/>
              <a:ext cx="49" cy="1"/>
            </a:xfrm>
            <a:custGeom>
              <a:avLst/>
              <a:gdLst>
                <a:gd name="T0" fmla="*/ 0 w 219"/>
                <a:gd name="T1" fmla="*/ 9 h 10"/>
                <a:gd name="T2" fmla="*/ 218 w 219"/>
                <a:gd name="T3" fmla="*/ 9 h 10"/>
                <a:gd name="T4" fmla="*/ 218 w 219"/>
                <a:gd name="T5" fmla="*/ 7 h 10"/>
                <a:gd name="T6" fmla="*/ 206 w 219"/>
                <a:gd name="T7" fmla="*/ 0 h 10"/>
                <a:gd name="T8" fmla="*/ 11 w 219"/>
                <a:gd name="T9" fmla="*/ 0 h 10"/>
                <a:gd name="T10" fmla="*/ 0 w 219"/>
                <a:gd name="T11" fmla="*/ 7 h 10"/>
                <a:gd name="T12" fmla="*/ 0 w 219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10">
                  <a:moveTo>
                    <a:pt x="0" y="9"/>
                  </a:moveTo>
                  <a:lnTo>
                    <a:pt x="218" y="9"/>
                  </a:lnTo>
                  <a:lnTo>
                    <a:pt x="218" y="7"/>
                  </a:lnTo>
                  <a:cubicBezTo>
                    <a:pt x="218" y="3"/>
                    <a:pt x="212" y="0"/>
                    <a:pt x="206" y="0"/>
                  </a:cubicBezTo>
                  <a:lnTo>
                    <a:pt x="11" y="0"/>
                  </a:lnTo>
                  <a:cubicBezTo>
                    <a:pt x="5" y="0"/>
                    <a:pt x="0" y="3"/>
                    <a:pt x="0" y="7"/>
                  </a:cubicBez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5AFAC02-5703-9648-BB40-CDAFF9BECF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F835741-44ED-4845-BADC-EED2BF0DB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787C5880-63DF-9C4C-BF77-653B8C499B32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3332777" y="1"/>
            <a:ext cx="5486400" cy="6858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6154E73-4D3E-E845-9D50-A5F17D2A0DEA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20893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F8AB4B-0244-304A-8350-6E2EE84B0935}"/>
              </a:ext>
            </a:extLst>
          </p:cNvPr>
          <p:cNvCxnSpPr>
            <a:cxnSpLocks/>
          </p:cNvCxnSpPr>
          <p:nvPr/>
        </p:nvCxnSpPr>
        <p:spPr>
          <a:xfrm>
            <a:off x="9486250" y="6315077"/>
            <a:ext cx="20893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 27">
            <a:extLst>
              <a:ext uri="{FF2B5EF4-FFF2-40B4-BE49-F238E27FC236}">
                <a16:creationId xmlns:a16="http://schemas.microsoft.com/office/drawing/2014/main" id="{61EDE531-14E4-104A-A183-7746E1A9E08B}"/>
              </a:ext>
            </a:extLst>
          </p:cNvPr>
          <p:cNvSpPr/>
          <p:nvPr/>
        </p:nvSpPr>
        <p:spPr>
          <a:xfrm>
            <a:off x="11575088" y="229719"/>
            <a:ext cx="342372" cy="211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102"/>
                </a:moveTo>
                <a:cubicBezTo>
                  <a:pt x="21600" y="7710"/>
                  <a:pt x="20450" y="5516"/>
                  <a:pt x="18233" y="5516"/>
                </a:cubicBezTo>
                <a:cubicBezTo>
                  <a:pt x="15995" y="5516"/>
                  <a:pt x="15995" y="5516"/>
                  <a:pt x="15995" y="5516"/>
                </a:cubicBezTo>
                <a:cubicBezTo>
                  <a:pt x="15995" y="9836"/>
                  <a:pt x="15995" y="9836"/>
                  <a:pt x="15995" y="9836"/>
                </a:cubicBezTo>
                <a:cubicBezTo>
                  <a:pt x="13079" y="9836"/>
                  <a:pt x="13079" y="9836"/>
                  <a:pt x="13079" y="9836"/>
                </a:cubicBezTo>
                <a:cubicBezTo>
                  <a:pt x="11909" y="13359"/>
                  <a:pt x="11909" y="13359"/>
                  <a:pt x="11909" y="13359"/>
                </a:cubicBezTo>
                <a:cubicBezTo>
                  <a:pt x="10677" y="9836"/>
                  <a:pt x="10677" y="9836"/>
                  <a:pt x="10677" y="9836"/>
                </a:cubicBezTo>
                <a:cubicBezTo>
                  <a:pt x="9116" y="9836"/>
                  <a:pt x="9116" y="9836"/>
                  <a:pt x="9116" y="9836"/>
                </a:cubicBezTo>
                <a:cubicBezTo>
                  <a:pt x="9301" y="9039"/>
                  <a:pt x="9383" y="8208"/>
                  <a:pt x="9383" y="7377"/>
                </a:cubicBezTo>
                <a:cubicBezTo>
                  <a:pt x="9383" y="7311"/>
                  <a:pt x="9383" y="7311"/>
                  <a:pt x="9383" y="7311"/>
                </a:cubicBezTo>
                <a:cubicBezTo>
                  <a:pt x="9383" y="5350"/>
                  <a:pt x="8911" y="3489"/>
                  <a:pt x="8049" y="2127"/>
                </a:cubicBezTo>
                <a:cubicBezTo>
                  <a:pt x="7166" y="764"/>
                  <a:pt x="5995" y="0"/>
                  <a:pt x="4702" y="0"/>
                </a:cubicBezTo>
                <a:cubicBezTo>
                  <a:pt x="3408" y="0"/>
                  <a:pt x="2217" y="764"/>
                  <a:pt x="1335" y="2160"/>
                </a:cubicBezTo>
                <a:cubicBezTo>
                  <a:pt x="924" y="2825"/>
                  <a:pt x="575" y="3622"/>
                  <a:pt x="349" y="4486"/>
                </a:cubicBezTo>
                <a:cubicBezTo>
                  <a:pt x="103" y="5383"/>
                  <a:pt x="0" y="6347"/>
                  <a:pt x="0" y="7377"/>
                </a:cubicBezTo>
                <a:cubicBezTo>
                  <a:pt x="0" y="7410"/>
                  <a:pt x="0" y="7410"/>
                  <a:pt x="0" y="7410"/>
                </a:cubicBezTo>
                <a:cubicBezTo>
                  <a:pt x="0" y="9371"/>
                  <a:pt x="472" y="11232"/>
                  <a:pt x="1335" y="12594"/>
                </a:cubicBezTo>
                <a:cubicBezTo>
                  <a:pt x="2197" y="13957"/>
                  <a:pt x="3408" y="14721"/>
                  <a:pt x="4681" y="14721"/>
                </a:cubicBezTo>
                <a:cubicBezTo>
                  <a:pt x="5831" y="14721"/>
                  <a:pt x="6899" y="14123"/>
                  <a:pt x="7741" y="13026"/>
                </a:cubicBezTo>
                <a:cubicBezTo>
                  <a:pt x="7741" y="21600"/>
                  <a:pt x="7741" y="21600"/>
                  <a:pt x="7741" y="21600"/>
                </a:cubicBezTo>
                <a:cubicBezTo>
                  <a:pt x="10307" y="21600"/>
                  <a:pt x="10307" y="21600"/>
                  <a:pt x="10307" y="21600"/>
                </a:cubicBezTo>
                <a:cubicBezTo>
                  <a:pt x="10307" y="16782"/>
                  <a:pt x="10307" y="16782"/>
                  <a:pt x="10307" y="16782"/>
                </a:cubicBezTo>
                <a:cubicBezTo>
                  <a:pt x="11909" y="20470"/>
                  <a:pt x="11909" y="20470"/>
                  <a:pt x="11909" y="20470"/>
                </a:cubicBezTo>
                <a:cubicBezTo>
                  <a:pt x="13449" y="16782"/>
                  <a:pt x="13449" y="16782"/>
                  <a:pt x="13449" y="16782"/>
                </a:cubicBezTo>
                <a:cubicBezTo>
                  <a:pt x="13449" y="21600"/>
                  <a:pt x="13449" y="21600"/>
                  <a:pt x="13449" y="21600"/>
                </a:cubicBezTo>
                <a:cubicBezTo>
                  <a:pt x="16015" y="21600"/>
                  <a:pt x="16015" y="21600"/>
                  <a:pt x="16015" y="21600"/>
                </a:cubicBezTo>
                <a:cubicBezTo>
                  <a:pt x="16015" y="14954"/>
                  <a:pt x="16015" y="14954"/>
                  <a:pt x="16015" y="14954"/>
                </a:cubicBezTo>
                <a:cubicBezTo>
                  <a:pt x="18171" y="14954"/>
                  <a:pt x="18171" y="14954"/>
                  <a:pt x="18171" y="14954"/>
                </a:cubicBezTo>
                <a:cubicBezTo>
                  <a:pt x="20409" y="14954"/>
                  <a:pt x="21600" y="12927"/>
                  <a:pt x="21600" y="10235"/>
                </a:cubicBezTo>
                <a:lnTo>
                  <a:pt x="21600" y="10102"/>
                </a:lnTo>
                <a:close/>
                <a:moveTo>
                  <a:pt x="6180" y="7410"/>
                </a:moveTo>
                <a:cubicBezTo>
                  <a:pt x="6180" y="8673"/>
                  <a:pt x="5667" y="9903"/>
                  <a:pt x="4702" y="9903"/>
                </a:cubicBezTo>
                <a:cubicBezTo>
                  <a:pt x="3716" y="9903"/>
                  <a:pt x="3183" y="8673"/>
                  <a:pt x="3183" y="7377"/>
                </a:cubicBezTo>
                <a:cubicBezTo>
                  <a:pt x="3183" y="7311"/>
                  <a:pt x="3183" y="7311"/>
                  <a:pt x="3183" y="7311"/>
                </a:cubicBezTo>
                <a:cubicBezTo>
                  <a:pt x="3183" y="6048"/>
                  <a:pt x="3696" y="4785"/>
                  <a:pt x="4681" y="4785"/>
                </a:cubicBezTo>
                <a:cubicBezTo>
                  <a:pt x="5667" y="4785"/>
                  <a:pt x="6180" y="6015"/>
                  <a:pt x="6180" y="7377"/>
                </a:cubicBezTo>
                <a:lnTo>
                  <a:pt x="6180" y="7410"/>
                </a:lnTo>
                <a:close/>
                <a:moveTo>
                  <a:pt x="19629" y="10202"/>
                </a:moveTo>
                <a:cubicBezTo>
                  <a:pt x="19629" y="11365"/>
                  <a:pt x="19054" y="11863"/>
                  <a:pt x="18397" y="11863"/>
                </a:cubicBezTo>
                <a:cubicBezTo>
                  <a:pt x="18027" y="11863"/>
                  <a:pt x="18027" y="11863"/>
                  <a:pt x="18027" y="11863"/>
                </a:cubicBezTo>
                <a:cubicBezTo>
                  <a:pt x="18027" y="8507"/>
                  <a:pt x="18027" y="8507"/>
                  <a:pt x="18027" y="8507"/>
                </a:cubicBezTo>
                <a:cubicBezTo>
                  <a:pt x="18397" y="8507"/>
                  <a:pt x="18397" y="8507"/>
                  <a:pt x="18397" y="8507"/>
                </a:cubicBezTo>
                <a:cubicBezTo>
                  <a:pt x="19054" y="8507"/>
                  <a:pt x="19629" y="9039"/>
                  <a:pt x="19629" y="10169"/>
                </a:cubicBezTo>
                <a:lnTo>
                  <a:pt x="19629" y="1020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61094" tIns="61094" rIns="61094" bIns="61094"/>
          <a:lstStyle/>
          <a:p>
            <a:pPr marL="0" marR="0" lvl="0" indent="0" defTabSz="7822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D1D1D"/>
                </a:solidFill>
              </a:defRPr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42636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Pad Mockup [3]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10">
            <a:extLst>
              <a:ext uri="{FF2B5EF4-FFF2-40B4-BE49-F238E27FC236}">
                <a16:creationId xmlns:a16="http://schemas.microsoft.com/office/drawing/2014/main" id="{B118C1C8-35C4-AB4E-B9C3-8A0779D23908}"/>
              </a:ext>
            </a:extLst>
          </p:cNvPr>
          <p:cNvGrpSpPr>
            <a:grpSpLocks/>
          </p:cNvGrpSpPr>
          <p:nvPr/>
        </p:nvGrpSpPr>
        <p:grpSpPr bwMode="auto">
          <a:xfrm>
            <a:off x="2940050" y="-3377792"/>
            <a:ext cx="6311900" cy="8921446"/>
            <a:chOff x="2996" y="2917"/>
            <a:chExt cx="670" cy="947"/>
          </a:xfrm>
        </p:grpSpPr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id="{F2936D1F-3718-FF41-A3FD-3E0727C97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6" y="2921"/>
              <a:ext cx="667" cy="943"/>
            </a:xfrm>
            <a:custGeom>
              <a:avLst/>
              <a:gdLst>
                <a:gd name="T0" fmla="*/ 2763 w 2946"/>
                <a:gd name="T1" fmla="*/ 4160 h 4161"/>
                <a:gd name="T2" fmla="*/ 182 w 2946"/>
                <a:gd name="T3" fmla="*/ 4160 h 4161"/>
                <a:gd name="T4" fmla="*/ 0 w 2946"/>
                <a:gd name="T5" fmla="*/ 3978 h 4161"/>
                <a:gd name="T6" fmla="*/ 0 w 2946"/>
                <a:gd name="T7" fmla="*/ 182 h 4161"/>
                <a:gd name="T8" fmla="*/ 182 w 2946"/>
                <a:gd name="T9" fmla="*/ 0 h 4161"/>
                <a:gd name="T10" fmla="*/ 2763 w 2946"/>
                <a:gd name="T11" fmla="*/ 0 h 4161"/>
                <a:gd name="T12" fmla="*/ 2945 w 2946"/>
                <a:gd name="T13" fmla="*/ 182 h 4161"/>
                <a:gd name="T14" fmla="*/ 2945 w 2946"/>
                <a:gd name="T15" fmla="*/ 3978 h 4161"/>
                <a:gd name="T16" fmla="*/ 2763 w 2946"/>
                <a:gd name="T17" fmla="*/ 4160 h 4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46" h="4161">
                  <a:moveTo>
                    <a:pt x="2763" y="4160"/>
                  </a:moveTo>
                  <a:lnTo>
                    <a:pt x="182" y="4160"/>
                  </a:lnTo>
                  <a:cubicBezTo>
                    <a:pt x="82" y="4160"/>
                    <a:pt x="0" y="4079"/>
                    <a:pt x="0" y="3978"/>
                  </a:cubicBezTo>
                  <a:lnTo>
                    <a:pt x="0" y="182"/>
                  </a:lnTo>
                  <a:cubicBezTo>
                    <a:pt x="0" y="82"/>
                    <a:pt x="82" y="0"/>
                    <a:pt x="182" y="0"/>
                  </a:cubicBezTo>
                  <a:lnTo>
                    <a:pt x="2763" y="0"/>
                  </a:lnTo>
                  <a:cubicBezTo>
                    <a:pt x="2863" y="0"/>
                    <a:pt x="2945" y="82"/>
                    <a:pt x="2945" y="182"/>
                  </a:cubicBezTo>
                  <a:lnTo>
                    <a:pt x="2945" y="3978"/>
                  </a:lnTo>
                  <a:cubicBezTo>
                    <a:pt x="2945" y="4079"/>
                    <a:pt x="2863" y="4160"/>
                    <a:pt x="2763" y="416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14A24B9-41C5-2148-B9F9-D5B98F58FA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8" y="2923"/>
              <a:ext cx="663" cy="939"/>
            </a:xfrm>
            <a:custGeom>
              <a:avLst/>
              <a:gdLst>
                <a:gd name="T0" fmla="*/ 174 w 2930"/>
                <a:gd name="T1" fmla="*/ 0 h 4145"/>
                <a:gd name="T2" fmla="*/ 0 w 2930"/>
                <a:gd name="T3" fmla="*/ 174 h 4145"/>
                <a:gd name="T4" fmla="*/ 0 w 2930"/>
                <a:gd name="T5" fmla="*/ 3970 h 4145"/>
                <a:gd name="T6" fmla="*/ 174 w 2930"/>
                <a:gd name="T7" fmla="*/ 4144 h 4145"/>
                <a:gd name="T8" fmla="*/ 2755 w 2930"/>
                <a:gd name="T9" fmla="*/ 4144 h 4145"/>
                <a:gd name="T10" fmla="*/ 2929 w 2930"/>
                <a:gd name="T11" fmla="*/ 3970 h 4145"/>
                <a:gd name="T12" fmla="*/ 2929 w 2930"/>
                <a:gd name="T13" fmla="*/ 174 h 4145"/>
                <a:gd name="T14" fmla="*/ 2755 w 2930"/>
                <a:gd name="T15" fmla="*/ 0 h 4145"/>
                <a:gd name="T16" fmla="*/ 174 w 2930"/>
                <a:gd name="T17" fmla="*/ 0 h 4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30" h="4145">
                  <a:moveTo>
                    <a:pt x="174" y="0"/>
                  </a:moveTo>
                  <a:cubicBezTo>
                    <a:pt x="78" y="0"/>
                    <a:pt x="0" y="78"/>
                    <a:pt x="0" y="174"/>
                  </a:cubicBezTo>
                  <a:lnTo>
                    <a:pt x="0" y="3970"/>
                  </a:lnTo>
                  <a:cubicBezTo>
                    <a:pt x="0" y="4066"/>
                    <a:pt x="78" y="4144"/>
                    <a:pt x="174" y="4144"/>
                  </a:cubicBezTo>
                  <a:lnTo>
                    <a:pt x="2755" y="4144"/>
                  </a:lnTo>
                  <a:cubicBezTo>
                    <a:pt x="2851" y="4144"/>
                    <a:pt x="2929" y="4066"/>
                    <a:pt x="2929" y="3970"/>
                  </a:cubicBezTo>
                  <a:lnTo>
                    <a:pt x="2929" y="174"/>
                  </a:lnTo>
                  <a:cubicBezTo>
                    <a:pt x="2929" y="78"/>
                    <a:pt x="2851" y="0"/>
                    <a:pt x="2755" y="0"/>
                  </a:cubicBezTo>
                  <a:lnTo>
                    <a:pt x="174" y="0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11E55402-6807-B54F-B983-A05CEB8D59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0" y="3006"/>
              <a:ext cx="579" cy="773"/>
            </a:xfrm>
            <a:custGeom>
              <a:avLst/>
              <a:gdLst>
                <a:gd name="T0" fmla="*/ 2553 w 2558"/>
                <a:gd name="T1" fmla="*/ 3410 h 3411"/>
                <a:gd name="T2" fmla="*/ 4 w 2558"/>
                <a:gd name="T3" fmla="*/ 3410 h 3411"/>
                <a:gd name="T4" fmla="*/ 0 w 2558"/>
                <a:gd name="T5" fmla="*/ 3406 h 3411"/>
                <a:gd name="T6" fmla="*/ 0 w 2558"/>
                <a:gd name="T7" fmla="*/ 5 h 3411"/>
                <a:gd name="T8" fmla="*/ 4 w 2558"/>
                <a:gd name="T9" fmla="*/ 0 h 3411"/>
                <a:gd name="T10" fmla="*/ 2553 w 2558"/>
                <a:gd name="T11" fmla="*/ 0 h 3411"/>
                <a:gd name="T12" fmla="*/ 2557 w 2558"/>
                <a:gd name="T13" fmla="*/ 5 h 3411"/>
                <a:gd name="T14" fmla="*/ 2557 w 2558"/>
                <a:gd name="T15" fmla="*/ 3406 h 3411"/>
                <a:gd name="T16" fmla="*/ 2553 w 2558"/>
                <a:gd name="T17" fmla="*/ 3410 h 3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8" h="3411">
                  <a:moveTo>
                    <a:pt x="2553" y="3410"/>
                  </a:moveTo>
                  <a:lnTo>
                    <a:pt x="4" y="3410"/>
                  </a:lnTo>
                  <a:cubicBezTo>
                    <a:pt x="2" y="3410"/>
                    <a:pt x="0" y="3408"/>
                    <a:pt x="0" y="3406"/>
                  </a:cubicBezTo>
                  <a:lnTo>
                    <a:pt x="0" y="5"/>
                  </a:lnTo>
                  <a:cubicBezTo>
                    <a:pt x="0" y="2"/>
                    <a:pt x="2" y="0"/>
                    <a:pt x="4" y="0"/>
                  </a:cubicBezTo>
                  <a:lnTo>
                    <a:pt x="2553" y="0"/>
                  </a:lnTo>
                  <a:cubicBezTo>
                    <a:pt x="2555" y="0"/>
                    <a:pt x="2557" y="2"/>
                    <a:pt x="2557" y="5"/>
                  </a:cubicBezTo>
                  <a:lnTo>
                    <a:pt x="2557" y="3406"/>
                  </a:lnTo>
                  <a:cubicBezTo>
                    <a:pt x="2557" y="3408"/>
                    <a:pt x="2555" y="3410"/>
                    <a:pt x="2553" y="34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FD6755B5-1E36-334C-B73D-F0ECC8411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05" y="3794"/>
              <a:ext cx="49" cy="48"/>
            </a:xfrm>
            <a:custGeom>
              <a:avLst/>
              <a:gdLst>
                <a:gd name="T0" fmla="*/ 109 w 219"/>
                <a:gd name="T1" fmla="*/ 217 h 218"/>
                <a:gd name="T2" fmla="*/ 0 w 219"/>
                <a:gd name="T3" fmla="*/ 108 h 218"/>
                <a:gd name="T4" fmla="*/ 109 w 219"/>
                <a:gd name="T5" fmla="*/ 0 h 218"/>
                <a:gd name="T6" fmla="*/ 218 w 219"/>
                <a:gd name="T7" fmla="*/ 108 h 218"/>
                <a:gd name="T8" fmla="*/ 109 w 219"/>
                <a:gd name="T9" fmla="*/ 217 h 218"/>
                <a:gd name="T10" fmla="*/ 109 w 219"/>
                <a:gd name="T11" fmla="*/ 8 h 218"/>
                <a:gd name="T12" fmla="*/ 9 w 219"/>
                <a:gd name="T13" fmla="*/ 108 h 218"/>
                <a:gd name="T14" fmla="*/ 109 w 219"/>
                <a:gd name="T15" fmla="*/ 208 h 218"/>
                <a:gd name="T16" fmla="*/ 209 w 219"/>
                <a:gd name="T17" fmla="*/ 108 h 218"/>
                <a:gd name="T18" fmla="*/ 109 w 219"/>
                <a:gd name="T19" fmla="*/ 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9" h="218">
                  <a:moveTo>
                    <a:pt x="109" y="217"/>
                  </a:moveTo>
                  <a:cubicBezTo>
                    <a:pt x="49" y="217"/>
                    <a:pt x="0" y="168"/>
                    <a:pt x="0" y="108"/>
                  </a:cubicBezTo>
                  <a:cubicBezTo>
                    <a:pt x="0" y="48"/>
                    <a:pt x="49" y="0"/>
                    <a:pt x="109" y="0"/>
                  </a:cubicBezTo>
                  <a:cubicBezTo>
                    <a:pt x="169" y="0"/>
                    <a:pt x="218" y="48"/>
                    <a:pt x="218" y="108"/>
                  </a:cubicBezTo>
                  <a:cubicBezTo>
                    <a:pt x="218" y="168"/>
                    <a:pt x="169" y="217"/>
                    <a:pt x="109" y="217"/>
                  </a:cubicBezTo>
                  <a:close/>
                  <a:moveTo>
                    <a:pt x="109" y="8"/>
                  </a:moveTo>
                  <a:cubicBezTo>
                    <a:pt x="54" y="8"/>
                    <a:pt x="9" y="53"/>
                    <a:pt x="9" y="108"/>
                  </a:cubicBezTo>
                  <a:cubicBezTo>
                    <a:pt x="9" y="163"/>
                    <a:pt x="54" y="208"/>
                    <a:pt x="109" y="208"/>
                  </a:cubicBezTo>
                  <a:cubicBezTo>
                    <a:pt x="164" y="208"/>
                    <a:pt x="209" y="163"/>
                    <a:pt x="209" y="108"/>
                  </a:cubicBezTo>
                  <a:cubicBezTo>
                    <a:pt x="209" y="53"/>
                    <a:pt x="164" y="8"/>
                    <a:pt x="109" y="8"/>
                  </a:cubicBezTo>
                  <a:close/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id="{39A990B3-2752-F642-8C7C-637F99DAB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2" y="2961"/>
              <a:ext cx="15" cy="15"/>
            </a:xfrm>
            <a:custGeom>
              <a:avLst/>
              <a:gdLst>
                <a:gd name="T0" fmla="*/ 34 w 69"/>
                <a:gd name="T1" fmla="*/ 68 h 69"/>
                <a:gd name="T2" fmla="*/ 0 w 69"/>
                <a:gd name="T3" fmla="*/ 34 h 69"/>
                <a:gd name="T4" fmla="*/ 34 w 69"/>
                <a:gd name="T5" fmla="*/ 0 h 69"/>
                <a:gd name="T6" fmla="*/ 68 w 69"/>
                <a:gd name="T7" fmla="*/ 34 h 69"/>
                <a:gd name="T8" fmla="*/ 34 w 69"/>
                <a:gd name="T9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69">
                  <a:moveTo>
                    <a:pt x="34" y="68"/>
                  </a:moveTo>
                  <a:cubicBezTo>
                    <a:pt x="15" y="68"/>
                    <a:pt x="0" y="53"/>
                    <a:pt x="0" y="34"/>
                  </a:cubicBezTo>
                  <a:cubicBezTo>
                    <a:pt x="0" y="16"/>
                    <a:pt x="15" y="0"/>
                    <a:pt x="34" y="0"/>
                  </a:cubicBezTo>
                  <a:cubicBezTo>
                    <a:pt x="53" y="0"/>
                    <a:pt x="68" y="16"/>
                    <a:pt x="68" y="34"/>
                  </a:cubicBezTo>
                  <a:cubicBezTo>
                    <a:pt x="68" y="53"/>
                    <a:pt x="53" y="68"/>
                    <a:pt x="34" y="68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id="{8D790DAE-6D88-4A4D-92D3-2C10821831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4" y="2963"/>
              <a:ext cx="11" cy="11"/>
            </a:xfrm>
            <a:custGeom>
              <a:avLst/>
              <a:gdLst>
                <a:gd name="T0" fmla="*/ 26 w 53"/>
                <a:gd name="T1" fmla="*/ 0 h 52"/>
                <a:gd name="T2" fmla="*/ 0 w 53"/>
                <a:gd name="T3" fmla="*/ 25 h 52"/>
                <a:gd name="T4" fmla="*/ 26 w 53"/>
                <a:gd name="T5" fmla="*/ 51 h 52"/>
                <a:gd name="T6" fmla="*/ 52 w 53"/>
                <a:gd name="T7" fmla="*/ 25 h 52"/>
                <a:gd name="T8" fmla="*/ 26 w 53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52">
                  <a:moveTo>
                    <a:pt x="26" y="0"/>
                  </a:moveTo>
                  <a:cubicBezTo>
                    <a:pt x="12" y="0"/>
                    <a:pt x="0" y="11"/>
                    <a:pt x="0" y="25"/>
                  </a:cubicBezTo>
                  <a:cubicBezTo>
                    <a:pt x="0" y="39"/>
                    <a:pt x="12" y="51"/>
                    <a:pt x="26" y="51"/>
                  </a:cubicBezTo>
                  <a:cubicBezTo>
                    <a:pt x="40" y="51"/>
                    <a:pt x="52" y="39"/>
                    <a:pt x="52" y="25"/>
                  </a:cubicBezTo>
                  <a:cubicBezTo>
                    <a:pt x="52" y="11"/>
                    <a:pt x="40" y="0"/>
                    <a:pt x="26" y="0"/>
                  </a:cubicBezTo>
                </a:path>
              </a:pathLst>
            </a:custGeom>
            <a:solidFill>
              <a:srgbClr val="3D3D4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id="{2814A261-7DBB-EA48-86AB-AC5CE73317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90"/>
              <a:ext cx="4" cy="31"/>
            </a:xfrm>
            <a:custGeom>
              <a:avLst/>
              <a:gdLst>
                <a:gd name="T0" fmla="*/ 8 w 24"/>
                <a:gd name="T1" fmla="*/ 140 h 141"/>
                <a:gd name="T2" fmla="*/ 4 w 24"/>
                <a:gd name="T3" fmla="*/ 140 h 141"/>
                <a:gd name="T4" fmla="*/ 0 w 24"/>
                <a:gd name="T5" fmla="*/ 136 h 141"/>
                <a:gd name="T6" fmla="*/ 0 w 24"/>
                <a:gd name="T7" fmla="*/ 4 h 141"/>
                <a:gd name="T8" fmla="*/ 4 w 24"/>
                <a:gd name="T9" fmla="*/ 0 h 141"/>
                <a:gd name="T10" fmla="*/ 8 w 24"/>
                <a:gd name="T11" fmla="*/ 0 h 141"/>
                <a:gd name="T12" fmla="*/ 23 w 24"/>
                <a:gd name="T13" fmla="*/ 20 h 141"/>
                <a:gd name="T14" fmla="*/ 23 w 24"/>
                <a:gd name="T15" fmla="*/ 121 h 141"/>
                <a:gd name="T16" fmla="*/ 17 w 24"/>
                <a:gd name="T17" fmla="*/ 136 h 141"/>
                <a:gd name="T18" fmla="*/ 8 w 24"/>
                <a:gd name="T19" fmla="*/ 14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41">
                  <a:moveTo>
                    <a:pt x="8" y="140"/>
                  </a:moveTo>
                  <a:lnTo>
                    <a:pt x="4" y="140"/>
                  </a:lnTo>
                  <a:cubicBezTo>
                    <a:pt x="1" y="140"/>
                    <a:pt x="0" y="139"/>
                    <a:pt x="0" y="136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21"/>
                  </a:lnTo>
                  <a:cubicBezTo>
                    <a:pt x="23" y="127"/>
                    <a:pt x="21" y="132"/>
                    <a:pt x="17" y="136"/>
                  </a:cubicBezTo>
                  <a:cubicBezTo>
                    <a:pt x="15" y="139"/>
                    <a:pt x="11" y="140"/>
                    <a:pt x="8" y="14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F2E6CF3C-AEFE-A649-B7FB-D7230DF6FF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92"/>
              <a:ext cx="1" cy="27"/>
            </a:xfrm>
            <a:custGeom>
              <a:avLst/>
              <a:gdLst>
                <a:gd name="T0" fmla="*/ 0 w 8"/>
                <a:gd name="T1" fmla="*/ 0 h 125"/>
                <a:gd name="T2" fmla="*/ 0 w 8"/>
                <a:gd name="T3" fmla="*/ 124 h 125"/>
                <a:gd name="T4" fmla="*/ 4 w 8"/>
                <a:gd name="T5" fmla="*/ 122 h 125"/>
                <a:gd name="T6" fmla="*/ 7 w 8"/>
                <a:gd name="T7" fmla="*/ 113 h 125"/>
                <a:gd name="T8" fmla="*/ 7 w 8"/>
                <a:gd name="T9" fmla="*/ 12 h 125"/>
                <a:gd name="T10" fmla="*/ 0 w 8"/>
                <a:gd name="T1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5">
                  <a:moveTo>
                    <a:pt x="0" y="0"/>
                  </a:moveTo>
                  <a:lnTo>
                    <a:pt x="0" y="124"/>
                  </a:lnTo>
                  <a:cubicBezTo>
                    <a:pt x="1" y="124"/>
                    <a:pt x="3" y="123"/>
                    <a:pt x="4" y="122"/>
                  </a:cubicBezTo>
                  <a:cubicBezTo>
                    <a:pt x="6" y="120"/>
                    <a:pt x="7" y="117"/>
                    <a:pt x="7" y="113"/>
                  </a:cubicBezTo>
                  <a:lnTo>
                    <a:pt x="7" y="12"/>
                  </a:lnTo>
                  <a:cubicBezTo>
                    <a:pt x="7" y="5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39" name="Freeform 19">
              <a:extLst>
                <a:ext uri="{FF2B5EF4-FFF2-40B4-BE49-F238E27FC236}">
                  <a16:creationId xmlns:a16="http://schemas.microsoft.com/office/drawing/2014/main" id="{0134CCF5-84D2-3946-8355-C64D953AB4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" y="3040"/>
              <a:ext cx="4" cy="29"/>
            </a:xfrm>
            <a:custGeom>
              <a:avLst/>
              <a:gdLst>
                <a:gd name="T0" fmla="*/ 8 w 24"/>
                <a:gd name="T1" fmla="*/ 133 h 134"/>
                <a:gd name="T2" fmla="*/ 4 w 24"/>
                <a:gd name="T3" fmla="*/ 133 h 134"/>
                <a:gd name="T4" fmla="*/ 0 w 24"/>
                <a:gd name="T5" fmla="*/ 129 h 134"/>
                <a:gd name="T6" fmla="*/ 0 w 24"/>
                <a:gd name="T7" fmla="*/ 4 h 134"/>
                <a:gd name="T8" fmla="*/ 4 w 24"/>
                <a:gd name="T9" fmla="*/ 0 h 134"/>
                <a:gd name="T10" fmla="*/ 8 w 24"/>
                <a:gd name="T11" fmla="*/ 0 h 134"/>
                <a:gd name="T12" fmla="*/ 23 w 24"/>
                <a:gd name="T13" fmla="*/ 20 h 134"/>
                <a:gd name="T14" fmla="*/ 23 w 24"/>
                <a:gd name="T15" fmla="*/ 114 h 134"/>
                <a:gd name="T16" fmla="*/ 17 w 24"/>
                <a:gd name="T17" fmla="*/ 129 h 134"/>
                <a:gd name="T18" fmla="*/ 8 w 24"/>
                <a:gd name="T19" fmla="*/ 133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134">
                  <a:moveTo>
                    <a:pt x="8" y="133"/>
                  </a:moveTo>
                  <a:lnTo>
                    <a:pt x="4" y="133"/>
                  </a:lnTo>
                  <a:cubicBezTo>
                    <a:pt x="1" y="133"/>
                    <a:pt x="0" y="131"/>
                    <a:pt x="0" y="129"/>
                  </a:cubicBezTo>
                  <a:lnTo>
                    <a:pt x="0" y="4"/>
                  </a:lnTo>
                  <a:cubicBezTo>
                    <a:pt x="0" y="2"/>
                    <a:pt x="1" y="0"/>
                    <a:pt x="4" y="0"/>
                  </a:cubicBezTo>
                  <a:lnTo>
                    <a:pt x="8" y="0"/>
                  </a:lnTo>
                  <a:cubicBezTo>
                    <a:pt x="16" y="0"/>
                    <a:pt x="23" y="9"/>
                    <a:pt x="23" y="20"/>
                  </a:cubicBezTo>
                  <a:lnTo>
                    <a:pt x="23" y="114"/>
                  </a:lnTo>
                  <a:cubicBezTo>
                    <a:pt x="23" y="120"/>
                    <a:pt x="21" y="125"/>
                    <a:pt x="17" y="129"/>
                  </a:cubicBezTo>
                  <a:cubicBezTo>
                    <a:pt x="15" y="132"/>
                    <a:pt x="11" y="133"/>
                    <a:pt x="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196EB3E2-A80C-714B-8008-6AD4BDDD1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4" y="3042"/>
              <a:ext cx="1" cy="26"/>
            </a:xfrm>
            <a:custGeom>
              <a:avLst/>
              <a:gdLst>
                <a:gd name="T0" fmla="*/ 0 w 8"/>
                <a:gd name="T1" fmla="*/ 0 h 118"/>
                <a:gd name="T2" fmla="*/ 0 w 8"/>
                <a:gd name="T3" fmla="*/ 117 h 118"/>
                <a:gd name="T4" fmla="*/ 4 w 8"/>
                <a:gd name="T5" fmla="*/ 115 h 118"/>
                <a:gd name="T6" fmla="*/ 7 w 8"/>
                <a:gd name="T7" fmla="*/ 106 h 118"/>
                <a:gd name="T8" fmla="*/ 7 w 8"/>
                <a:gd name="T9" fmla="*/ 12 h 118"/>
                <a:gd name="T10" fmla="*/ 0 w 8"/>
                <a:gd name="T11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18">
                  <a:moveTo>
                    <a:pt x="0" y="0"/>
                  </a:moveTo>
                  <a:lnTo>
                    <a:pt x="0" y="117"/>
                  </a:lnTo>
                  <a:cubicBezTo>
                    <a:pt x="1" y="117"/>
                    <a:pt x="3" y="116"/>
                    <a:pt x="4" y="115"/>
                  </a:cubicBezTo>
                  <a:cubicBezTo>
                    <a:pt x="6" y="113"/>
                    <a:pt x="7" y="110"/>
                    <a:pt x="7" y="106"/>
                  </a:cubicBezTo>
                  <a:lnTo>
                    <a:pt x="7" y="12"/>
                  </a:lnTo>
                  <a:cubicBezTo>
                    <a:pt x="7" y="6"/>
                    <a:pt x="4" y="0"/>
                    <a:pt x="0" y="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1" name="Freeform 21">
              <a:extLst>
                <a:ext uri="{FF2B5EF4-FFF2-40B4-BE49-F238E27FC236}">
                  <a16:creationId xmlns:a16="http://schemas.microsoft.com/office/drawing/2014/main" id="{4DFEBB67-D522-1D40-AF6E-8A76A6517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" y="2917"/>
              <a:ext cx="52" cy="5"/>
            </a:xfrm>
            <a:custGeom>
              <a:avLst/>
              <a:gdLst>
                <a:gd name="T0" fmla="*/ 230 w 235"/>
                <a:gd name="T1" fmla="*/ 25 h 26"/>
                <a:gd name="T2" fmla="*/ 4 w 235"/>
                <a:gd name="T3" fmla="*/ 25 h 26"/>
                <a:gd name="T4" fmla="*/ 0 w 235"/>
                <a:gd name="T5" fmla="*/ 21 h 26"/>
                <a:gd name="T6" fmla="*/ 0 w 235"/>
                <a:gd name="T7" fmla="*/ 15 h 26"/>
                <a:gd name="T8" fmla="*/ 19 w 235"/>
                <a:gd name="T9" fmla="*/ 0 h 26"/>
                <a:gd name="T10" fmla="*/ 214 w 235"/>
                <a:gd name="T11" fmla="*/ 0 h 26"/>
                <a:gd name="T12" fmla="*/ 234 w 235"/>
                <a:gd name="T13" fmla="*/ 15 h 26"/>
                <a:gd name="T14" fmla="*/ 234 w 235"/>
                <a:gd name="T15" fmla="*/ 21 h 26"/>
                <a:gd name="T16" fmla="*/ 230 w 235"/>
                <a:gd name="T17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5" h="26">
                  <a:moveTo>
                    <a:pt x="230" y="25"/>
                  </a:moveTo>
                  <a:lnTo>
                    <a:pt x="4" y="25"/>
                  </a:lnTo>
                  <a:cubicBezTo>
                    <a:pt x="2" y="25"/>
                    <a:pt x="0" y="24"/>
                    <a:pt x="0" y="21"/>
                  </a:cubicBezTo>
                  <a:lnTo>
                    <a:pt x="0" y="15"/>
                  </a:lnTo>
                  <a:cubicBezTo>
                    <a:pt x="0" y="7"/>
                    <a:pt x="9" y="0"/>
                    <a:pt x="19" y="0"/>
                  </a:cubicBezTo>
                  <a:lnTo>
                    <a:pt x="214" y="0"/>
                  </a:lnTo>
                  <a:cubicBezTo>
                    <a:pt x="225" y="0"/>
                    <a:pt x="234" y="7"/>
                    <a:pt x="234" y="15"/>
                  </a:cubicBezTo>
                  <a:lnTo>
                    <a:pt x="234" y="21"/>
                  </a:lnTo>
                  <a:cubicBezTo>
                    <a:pt x="234" y="24"/>
                    <a:pt x="232" y="25"/>
                    <a:pt x="230" y="25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  <p:sp>
          <p:nvSpPr>
            <p:cNvPr id="42" name="Freeform 22">
              <a:extLst>
                <a:ext uri="{FF2B5EF4-FFF2-40B4-BE49-F238E27FC236}">
                  <a16:creationId xmlns:a16="http://schemas.microsoft.com/office/drawing/2014/main" id="{9B41D12B-B065-DA4A-B2DD-9F671EBD88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8" y="2919"/>
              <a:ext cx="49" cy="1"/>
            </a:xfrm>
            <a:custGeom>
              <a:avLst/>
              <a:gdLst>
                <a:gd name="T0" fmla="*/ 0 w 219"/>
                <a:gd name="T1" fmla="*/ 9 h 10"/>
                <a:gd name="T2" fmla="*/ 218 w 219"/>
                <a:gd name="T3" fmla="*/ 9 h 10"/>
                <a:gd name="T4" fmla="*/ 218 w 219"/>
                <a:gd name="T5" fmla="*/ 7 h 10"/>
                <a:gd name="T6" fmla="*/ 206 w 219"/>
                <a:gd name="T7" fmla="*/ 0 h 10"/>
                <a:gd name="T8" fmla="*/ 11 w 219"/>
                <a:gd name="T9" fmla="*/ 0 h 10"/>
                <a:gd name="T10" fmla="*/ 0 w 219"/>
                <a:gd name="T11" fmla="*/ 7 h 10"/>
                <a:gd name="T12" fmla="*/ 0 w 219"/>
                <a:gd name="T13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10">
                  <a:moveTo>
                    <a:pt x="0" y="9"/>
                  </a:moveTo>
                  <a:lnTo>
                    <a:pt x="218" y="9"/>
                  </a:lnTo>
                  <a:lnTo>
                    <a:pt x="218" y="7"/>
                  </a:lnTo>
                  <a:cubicBezTo>
                    <a:pt x="218" y="3"/>
                    <a:pt x="212" y="0"/>
                    <a:pt x="206" y="0"/>
                  </a:cubicBezTo>
                  <a:lnTo>
                    <a:pt x="11" y="0"/>
                  </a:lnTo>
                  <a:cubicBezTo>
                    <a:pt x="5" y="0"/>
                    <a:pt x="0" y="3"/>
                    <a:pt x="0" y="7"/>
                  </a:cubicBezTo>
                  <a:lnTo>
                    <a:pt x="0" y="9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b="0" i="0">
                <a:latin typeface="Arial Regular"/>
              </a:endParaRPr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B2C7E9D-367E-954C-8017-712270FF46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835DE98-C2C4-414B-B938-EEB3A45934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69CFE5B8-CD9D-A744-8BD3-4129AA9AD6F7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3332777" y="1"/>
            <a:ext cx="5486400" cy="4752000"/>
          </a:xfrm>
          <a:prstGeom prst="rect">
            <a:avLst/>
          </a:prstGeo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9153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mage layout [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426A0AE-8532-9F49-A17C-94B6B05962FD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23888" y="4902062"/>
            <a:ext cx="3527425" cy="1226490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79369F-954E-4445-B079-BFDC03FED1BA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23891" y="4575003"/>
            <a:ext cx="352742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B57EB67E-25AB-204E-A448-DF8911A0540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3888" y="550333"/>
            <a:ext cx="10944225" cy="38069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99EA720-68C0-EE41-AE9A-8B3F6BA7B394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4332288" y="4902062"/>
            <a:ext cx="3527425" cy="1226490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ABD005B-7E2D-FA4B-BC03-63FE0BA1526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332291" y="4575003"/>
            <a:ext cx="352742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C81B7AE-AA8D-1149-BB6D-56BA89A3EED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8040688" y="4902062"/>
            <a:ext cx="3518085" cy="1226490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C8765DA-47F4-724A-AE2B-13B46586EE3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040691" y="4575003"/>
            <a:ext cx="351808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BD13C80-DAB2-594F-A738-A6230CFCAD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543EAADD-AE00-E94A-B63B-C7DA12EF8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1212223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 image layout [2]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FA6358F-CA3F-1D49-ADBB-3CF25F03F67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2289" y="398446"/>
            <a:ext cx="7242800" cy="56526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804" y="398447"/>
            <a:ext cx="3518086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227" y="1883535"/>
            <a:ext cx="3518086" cy="4167525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2BA6343-4107-B240-8357-B11D21364762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822EC29-90FC-364B-8620-AE5494B81A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DD319187-B554-DD4E-BE0E-D308B28B08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075030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426A0AE-8532-9F49-A17C-94B6B05962FD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623888" y="4901147"/>
            <a:ext cx="3527425" cy="1227404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C79369F-954E-4445-B079-BFDC03FED1BA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23891" y="4574088"/>
            <a:ext cx="352742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B57EB67E-25AB-204E-A448-DF8911A0540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3227" y="659219"/>
            <a:ext cx="3518086" cy="37064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099EA720-68C0-EE41-AE9A-8B3F6BA7B394}"/>
              </a:ext>
            </a:extLst>
          </p:cNvPr>
          <p:cNvSpPr>
            <a:spLocks noGrp="1"/>
          </p:cNvSpPr>
          <p:nvPr>
            <p:ph type="body" sz="quarter" idx="86"/>
          </p:nvPr>
        </p:nvSpPr>
        <p:spPr>
          <a:xfrm>
            <a:off x="4332288" y="4901147"/>
            <a:ext cx="3527425" cy="1227404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ABD005B-7E2D-FA4B-BC03-63FE0BA1526E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332291" y="4574088"/>
            <a:ext cx="352742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C81B7AE-AA8D-1149-BB6D-56BA89A3EEDB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8040688" y="4901147"/>
            <a:ext cx="3518085" cy="1227404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C8765DA-47F4-724A-AE2B-13B46586EE3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040691" y="4574088"/>
            <a:ext cx="3518082" cy="356555"/>
          </a:xfrm>
          <a:prstGeom prst="rect">
            <a:avLst/>
          </a:prstGeom>
        </p:spPr>
        <p:txBody>
          <a:bodyPr lIns="36000" tIns="0" rIns="3600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BD13C80-DAB2-594F-A738-A6230CFCAD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543EAADD-AE00-E94A-B63B-C7DA12EF86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/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9BF20614-F7B4-C045-9EA1-292114E24B0F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4341627" y="659219"/>
            <a:ext cx="3518086" cy="37064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27797CF5-A2A1-3E49-B587-E1F9FE63A476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8040687" y="659219"/>
            <a:ext cx="3518086" cy="37064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36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6" y="398447"/>
            <a:ext cx="3518087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D5A7DDA-94E7-1D46-A188-52DD4902422C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8468996" y="398447"/>
            <a:ext cx="3099117" cy="27062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B1E1338-7FDC-9845-8C40-E2131946B991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8468995" y="3317358"/>
            <a:ext cx="3099117" cy="27506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32C6B737-BBE9-934D-A11E-0516BC145B3E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5144549" y="398447"/>
            <a:ext cx="3099117" cy="27062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A25C52C-A34D-A24C-8D26-2AB454B201B5}"/>
              </a:ext>
            </a:extLst>
          </p:cNvPr>
          <p:cNvSpPr>
            <a:spLocks noGrp="1"/>
          </p:cNvSpPr>
          <p:nvPr>
            <p:ph type="pic" sz="quarter" idx="94"/>
          </p:nvPr>
        </p:nvSpPr>
        <p:spPr>
          <a:xfrm>
            <a:off x="5144548" y="3317358"/>
            <a:ext cx="3099117" cy="27506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AB20509-8E95-B342-9E2D-9D24BC44B08C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F3E95A62-B5C2-7141-AE0E-46C66DC3B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56A64139-84AB-9B42-8C3D-7CAD503990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54BA5509-03D7-2E46-830A-5483A9CDC3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411987"/>
            <a:ext cx="3518087" cy="899422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6112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2 image layout [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6" y="398447"/>
            <a:ext cx="3518087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242A77C-F37D-6645-8DBA-2749432363BD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8265228" y="398446"/>
            <a:ext cx="3302885" cy="2664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82ED00C-077D-1C4F-9167-D70C1F6FE331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4372046" y="398446"/>
            <a:ext cx="3672025" cy="2664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B1DA137-1D16-5A4A-BEE1-165424A68E13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623889" y="3273287"/>
            <a:ext cx="5564876" cy="2862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221DA21-FBF1-194D-ACE3-AFCFC2B7B84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6406856" y="3273287"/>
            <a:ext cx="5161257" cy="2862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A1C2124-E2F5-A64E-9030-04FFFB78A8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411987"/>
            <a:ext cx="3518087" cy="899422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3317B4A-1A4E-E245-A2CB-2070A3AAFFC7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14090542-06B6-4F42-A1E7-4F35798D6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963A882A-F0C7-FA42-8B68-E613D4C095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142005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2 image layout [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6" y="398447"/>
            <a:ext cx="3518087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242A77C-F37D-6645-8DBA-2749432363BD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7368209" y="398445"/>
            <a:ext cx="4451756" cy="24390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82ED00C-077D-1C4F-9167-D70C1F6FE331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3475326" y="1415740"/>
            <a:ext cx="3672025" cy="2664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B1DA137-1D16-5A4A-BEE1-165424A68E13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623888" y="4268044"/>
            <a:ext cx="3338511" cy="1867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221DA21-FBF1-194D-ACE3-AFCFC2B7B84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7368151" y="3047999"/>
            <a:ext cx="4188523" cy="30877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1467889-718A-464D-9AB7-888D6C9F3FF2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4170003" y="4283625"/>
            <a:ext cx="2977348" cy="18677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F6B2235-5D79-ED40-80B7-B1BBEFD9B1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411987"/>
            <a:ext cx="3518087" cy="899422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19F10D-02B4-0745-A7B0-A548463F932E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A17741B-876F-D146-8297-F0D70DD24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3A55E1F9-9BC6-EA4F-8554-98095C91A0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653321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2 image layout [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6" y="398447"/>
            <a:ext cx="3518087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30BC542-0CEE-4148-A90D-9066413A252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411987"/>
            <a:ext cx="3518087" cy="899422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242A77C-F37D-6645-8DBA-2749432363BD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8014182" y="451455"/>
            <a:ext cx="3553931" cy="23860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82ED00C-077D-1C4F-9167-D70C1F6FE331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4178496" y="432631"/>
            <a:ext cx="3602372" cy="24048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221DA21-FBF1-194D-ACE3-AFCFC2B7B84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4178495" y="3052037"/>
            <a:ext cx="7389618" cy="3095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28C005-0696-1B41-AE11-F91A724FE8F6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ACFCF8F-F653-7A4C-B231-952607F20D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8B0F144E-19B4-5D45-8B20-6333048F08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120078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572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 Cond" panose="020B0506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36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2 image layout [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226" y="398447"/>
            <a:ext cx="3518087" cy="1543066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B242A77C-F37D-6645-8DBA-2749432363BD}"/>
              </a:ext>
            </a:extLst>
          </p:cNvPr>
          <p:cNvSpPr>
            <a:spLocks noGrp="1"/>
          </p:cNvSpPr>
          <p:nvPr>
            <p:ph type="pic" sz="quarter" idx="89"/>
          </p:nvPr>
        </p:nvSpPr>
        <p:spPr>
          <a:xfrm>
            <a:off x="8291732" y="398447"/>
            <a:ext cx="3572890" cy="2664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82ED00C-077D-1C4F-9167-D70C1F6FE331}"/>
              </a:ext>
            </a:extLst>
          </p:cNvPr>
          <p:cNvSpPr>
            <a:spLocks noGrp="1"/>
          </p:cNvSpPr>
          <p:nvPr>
            <p:ph type="pic" sz="quarter" idx="90"/>
          </p:nvPr>
        </p:nvSpPr>
        <p:spPr>
          <a:xfrm>
            <a:off x="4366465" y="398447"/>
            <a:ext cx="3704110" cy="26643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B1DA137-1D16-5A4A-BEE1-165424A68E13}"/>
              </a:ext>
            </a:extLst>
          </p:cNvPr>
          <p:cNvSpPr>
            <a:spLocks noGrp="1"/>
          </p:cNvSpPr>
          <p:nvPr>
            <p:ph type="pic" sz="quarter" idx="91"/>
          </p:nvPr>
        </p:nvSpPr>
        <p:spPr>
          <a:xfrm>
            <a:off x="4366465" y="3273288"/>
            <a:ext cx="1848803" cy="2862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221DA21-FBF1-194D-ACE3-AFCFC2B7B840}"/>
              </a:ext>
            </a:extLst>
          </p:cNvPr>
          <p:cNvSpPr>
            <a:spLocks noGrp="1"/>
          </p:cNvSpPr>
          <p:nvPr>
            <p:ph type="pic" sz="quarter" idx="92"/>
          </p:nvPr>
        </p:nvSpPr>
        <p:spPr>
          <a:xfrm>
            <a:off x="6422066" y="3273288"/>
            <a:ext cx="4564251" cy="28624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A1C2124-E2F5-A64E-9030-04FFFB78A8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3888" y="1411987"/>
            <a:ext cx="3518087" cy="899422"/>
          </a:xfrm>
        </p:spPr>
        <p:txBody>
          <a:bodyPr rIns="18000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6A2BD9D-386F-C942-91AC-DCA25053FD8B}"/>
              </a:ext>
            </a:extLst>
          </p:cNvPr>
          <p:cNvSpPr>
            <a:spLocks noGrp="1"/>
          </p:cNvSpPr>
          <p:nvPr>
            <p:ph type="pic" sz="quarter" idx="93"/>
          </p:nvPr>
        </p:nvSpPr>
        <p:spPr>
          <a:xfrm>
            <a:off x="623888" y="3273287"/>
            <a:ext cx="3527000" cy="28624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B36AC7D-68E9-AF46-AF8F-63D1F1B4C8C2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8A2742E2-DC70-884E-B69C-BC9766AFA9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9FEFE0D6-EC10-CC46-8CB0-5491B2A174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6446868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4764051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Big 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1195871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ig 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30343223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Big statem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3316650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6354553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Big statem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545320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Big statem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7392681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Big statement">
    <p:bg>
      <p:bgPr>
        <a:solidFill>
          <a:srgbClr val="FF7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4790208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Big statem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1AAB2-240F-9E49-85DD-3209EC3254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1266" y="1304925"/>
            <a:ext cx="9223397" cy="4248150"/>
          </a:xfrm>
        </p:spPr>
        <p:txBody>
          <a:bodyPr anchor="t" anchorCtr="0">
            <a:noAutofit/>
          </a:bodyPr>
          <a:lstStyle>
            <a:lvl1pPr>
              <a:defRPr sz="4800" b="1" i="0" spc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Quote or a big statement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6EE1FC0-08C6-7F4C-81FC-0348139C8A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B90DAD29-7DED-AA42-AA04-A032FBB6D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40287962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Myriad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674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big 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F31E99D7-1FD0-914C-B0D5-E3A15621B5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60849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big statem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A424EE61-1070-5D4F-8D12-1129463569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352526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big 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8D8CA32-571D-0E4B-8C04-C21620D55EC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84608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big statem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2E7A09-19B2-8942-91AB-7889CE10EDB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418603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993F56E-4853-FC4B-82E0-F15EBE8171F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9777981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big statem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A2AEED4F-0D02-E64E-BD5C-8AED2D65370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8850176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big statem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33D1BE1E-31F3-8149-9A29-AD8223698CF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585788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big statement">
    <p:bg>
      <p:bgPr>
        <a:solidFill>
          <a:srgbClr val="FF76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7F6C4EB-65B4-EC4C-9C45-47B933F1D7B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692887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big statem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D6ADC5D-2F32-7849-AC51-1E6DA503474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0"/>
            </a:schemeClr>
          </a:solidFill>
        </p:spPr>
        <p:txBody>
          <a:bodyPr tIns="108000" rIns="144000" anchor="ctr" anchorCtr="1"/>
          <a:lstStyle>
            <a:lvl1pPr marL="0" marR="0" indent="0" algn="r" defTabSz="48482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F14658-03B6-E64B-8227-88C6F2634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C553C50-2E12-0844-A4D8-E75C6DC47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226" y="1304925"/>
            <a:ext cx="9223293" cy="4248149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4800" b="1" i="0" cap="none" spc="0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Quote or a big statement </a:t>
            </a:r>
            <a:endParaRPr lang="en-GB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D29F14F-04C0-C942-8547-AEEBF06176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bg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FECCD157-1FAA-C343-9250-2B7392934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smtClean="0">
                <a:solidFill>
                  <a:schemeClr val="bg1"/>
                </a:solidFill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2787107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592DF649-EDD8-134A-8D02-9A263A158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2383"/>
            <a:ext cx="10515600" cy="680223"/>
          </a:xfrm>
        </p:spPr>
        <p:txBody>
          <a:bodyPr/>
          <a:lstStyle>
            <a:lvl1pPr>
              <a:defRPr>
                <a:solidFill>
                  <a:srgbClr val="6474B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4133D4B-F3AE-DD48-ACD0-CC754A861913}"/>
              </a:ext>
            </a:extLst>
          </p:cNvPr>
          <p:cNvGrpSpPr/>
          <p:nvPr userDrawn="1"/>
        </p:nvGrpSpPr>
        <p:grpSpPr>
          <a:xfrm>
            <a:off x="219652" y="149751"/>
            <a:ext cx="2222861" cy="517700"/>
            <a:chOff x="4645025" y="2286849"/>
            <a:chExt cx="2222861" cy="517699"/>
          </a:xfrm>
        </p:grpSpPr>
        <p:cxnSp>
          <p:nvCxnSpPr>
            <p:cNvPr id="25" name="Прямая соединительная линия 17">
              <a:extLst>
                <a:ext uri="{FF2B5EF4-FFF2-40B4-BE49-F238E27FC236}">
                  <a16:creationId xmlns:a16="http://schemas.microsoft.com/office/drawing/2014/main" id="{9776EF43-3D24-564E-8641-22F8B44EFE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87609" y="2444413"/>
              <a:ext cx="489594" cy="1373"/>
            </a:xfrm>
            <a:prstGeom prst="line">
              <a:avLst/>
            </a:prstGeom>
            <a:ln w="6350">
              <a:solidFill>
                <a:srgbClr val="E9E9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17">
              <a:extLst>
                <a:ext uri="{FF2B5EF4-FFF2-40B4-BE49-F238E27FC236}">
                  <a16:creationId xmlns:a16="http://schemas.microsoft.com/office/drawing/2014/main" id="{35CA051B-B956-1A49-B88A-76C518CAE0CC}"/>
                </a:ext>
              </a:extLst>
            </p:cNvPr>
            <p:cNvCxnSpPr>
              <a:cxnSpLocks/>
              <a:endCxn id="32" idx="5"/>
            </p:cNvCxnSpPr>
            <p:nvPr/>
          </p:nvCxnSpPr>
          <p:spPr>
            <a:xfrm flipH="1" flipV="1">
              <a:off x="5464829" y="2443078"/>
              <a:ext cx="458614" cy="3686"/>
            </a:xfrm>
            <a:prstGeom prst="line">
              <a:avLst/>
            </a:prstGeom>
            <a:ln w="6350">
              <a:solidFill>
                <a:srgbClr val="E9E9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17">
              <a:extLst>
                <a:ext uri="{FF2B5EF4-FFF2-40B4-BE49-F238E27FC236}">
                  <a16:creationId xmlns:a16="http://schemas.microsoft.com/office/drawing/2014/main" id="{28692B94-C559-7B48-898B-409DF73B6D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05525" y="2443830"/>
              <a:ext cx="394409" cy="0"/>
            </a:xfrm>
            <a:prstGeom prst="line">
              <a:avLst/>
            </a:prstGeom>
            <a:ln w="6350">
              <a:solidFill>
                <a:srgbClr val="E9E9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DEA37DA-B73D-2648-B0FD-DCD17B9075E2}"/>
                </a:ext>
              </a:extLst>
            </p:cNvPr>
            <p:cNvSpPr/>
            <p:nvPr/>
          </p:nvSpPr>
          <p:spPr>
            <a:xfrm>
              <a:off x="5696312" y="2619882"/>
              <a:ext cx="572192" cy="184666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600" b="1">
                  <a:solidFill>
                    <a:srgbClr val="6473B6"/>
                  </a:solidFill>
                  <a:latin typeface="Arial Regular"/>
                </a:rPr>
                <a:t>CRAFT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26B16FB-6C93-4D41-A022-B67A30E573DB}"/>
                </a:ext>
              </a:extLst>
            </p:cNvPr>
            <p:cNvSpPr/>
            <p:nvPr/>
          </p:nvSpPr>
          <p:spPr>
            <a:xfrm>
              <a:off x="5150068" y="2512249"/>
              <a:ext cx="513849" cy="13849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300" b="1">
                  <a:solidFill>
                    <a:srgbClr val="488FBF"/>
                  </a:solidFill>
                  <a:latin typeface="Arial Regular"/>
                </a:rPr>
                <a:t>EMPATHY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012CD0E-8FDD-504F-A3BF-42569BF924FA}"/>
                </a:ext>
              </a:extLst>
            </p:cNvPr>
            <p:cNvSpPr/>
            <p:nvPr/>
          </p:nvSpPr>
          <p:spPr>
            <a:xfrm>
              <a:off x="4645025" y="2512249"/>
              <a:ext cx="374301" cy="13849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300" b="1">
                  <a:solidFill>
                    <a:srgbClr val="19A8A2"/>
                  </a:solidFill>
                  <a:latin typeface="Arial Regular"/>
                </a:rPr>
                <a:t>AMBITION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240B9959-6FA6-4E48-B78C-BF59DF0AF857}"/>
                </a:ext>
              </a:extLst>
            </p:cNvPr>
            <p:cNvSpPr/>
            <p:nvPr/>
          </p:nvSpPr>
          <p:spPr>
            <a:xfrm>
              <a:off x="6241074" y="2512249"/>
              <a:ext cx="626812" cy="138499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914377"/>
              <a:r>
                <a:rPr lang="en-US" sz="300" b="1">
                  <a:solidFill>
                    <a:srgbClr val="9C81AF"/>
                  </a:solidFill>
                  <a:latin typeface="Arial Regular"/>
                </a:rPr>
                <a:t>ACTIVATE</a:t>
              </a: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390A34A4-8987-CC42-9A2E-FE2B1F670F3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44968" y="2382200"/>
              <a:ext cx="117917" cy="121805"/>
            </a:xfrm>
            <a:custGeom>
              <a:avLst/>
              <a:gdLst>
                <a:gd name="connsiteX0" fmla="*/ 3553430 w 5098945"/>
                <a:gd name="connsiteY0" fmla="*/ 213481 h 5267074"/>
                <a:gd name="connsiteX1" fmla="*/ 5098945 w 5098945"/>
                <a:gd name="connsiteY1" fmla="*/ 2633416 h 5267074"/>
                <a:gd name="connsiteX2" fmla="*/ 2547666 w 5098945"/>
                <a:gd name="connsiteY2" fmla="*/ 5267074 h 5267074"/>
                <a:gd name="connsiteX3" fmla="*/ 195783 w 5098945"/>
                <a:gd name="connsiteY3" fmla="*/ 3647847 h 5267074"/>
                <a:gd name="connsiteX4" fmla="*/ 3553430 w 5098945"/>
                <a:gd name="connsiteY4" fmla="*/ 213481 h 5267074"/>
                <a:gd name="connsiteX5" fmla="*/ 2548423 w 5098945"/>
                <a:gd name="connsiteY5" fmla="*/ 0 h 5267074"/>
                <a:gd name="connsiteX6" fmla="*/ 3146650 w 5098945"/>
                <a:gd name="connsiteY6" fmla="*/ 76261 h 5267074"/>
                <a:gd name="connsiteX7" fmla="*/ 67473 w 5098945"/>
                <a:gd name="connsiteY7" fmla="*/ 3226290 h 5267074"/>
                <a:gd name="connsiteX8" fmla="*/ 0 w 5098945"/>
                <a:gd name="connsiteY8" fmla="*/ 2634014 h 5267074"/>
                <a:gd name="connsiteX9" fmla="*/ 2548423 w 5098945"/>
                <a:gd name="connsiteY9" fmla="*/ 0 h 526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98945" h="5267074">
                  <a:moveTo>
                    <a:pt x="3553430" y="213481"/>
                  </a:moveTo>
                  <a:cubicBezTo>
                    <a:pt x="4462380" y="615340"/>
                    <a:pt x="5098945" y="1548246"/>
                    <a:pt x="5098945" y="2633416"/>
                  </a:cubicBezTo>
                  <a:cubicBezTo>
                    <a:pt x="5098945" y="4087836"/>
                    <a:pt x="3957992" y="5267074"/>
                    <a:pt x="2547666" y="5267074"/>
                  </a:cubicBezTo>
                  <a:cubicBezTo>
                    <a:pt x="1489231" y="5267074"/>
                    <a:pt x="580030" y="4598312"/>
                    <a:pt x="195783" y="3647847"/>
                  </a:cubicBezTo>
                  <a:cubicBezTo>
                    <a:pt x="1049303" y="2269686"/>
                    <a:pt x="2198784" y="1093458"/>
                    <a:pt x="3553430" y="213481"/>
                  </a:cubicBezTo>
                  <a:close/>
                  <a:moveTo>
                    <a:pt x="2548423" y="0"/>
                  </a:moveTo>
                  <a:cubicBezTo>
                    <a:pt x="2753601" y="0"/>
                    <a:pt x="2953010" y="29350"/>
                    <a:pt x="3146650" y="76261"/>
                  </a:cubicBezTo>
                  <a:cubicBezTo>
                    <a:pt x="1926869" y="912121"/>
                    <a:pt x="879908" y="1982785"/>
                    <a:pt x="67473" y="3226290"/>
                  </a:cubicBezTo>
                  <a:cubicBezTo>
                    <a:pt x="23578" y="3035638"/>
                    <a:pt x="0" y="2838965"/>
                    <a:pt x="0" y="2634014"/>
                  </a:cubicBezTo>
                  <a:cubicBezTo>
                    <a:pt x="0" y="1179035"/>
                    <a:pt x="1140771" y="0"/>
                    <a:pt x="2548423" y="0"/>
                  </a:cubicBezTo>
                  <a:close/>
                </a:path>
              </a:pathLst>
            </a:custGeom>
            <a:solidFill>
              <a:srgbClr val="488FBF"/>
            </a:solidFill>
            <a:ln w="3175" cap="flat">
              <a:noFill/>
              <a:bevel/>
              <a:headEnd/>
              <a:tailEnd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351">
                <a:solidFill>
                  <a:srgbClr val="6473B6"/>
                </a:solidFill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5B78F97C-44DF-9946-8448-22D0A4AD37A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495521" y="2382199"/>
              <a:ext cx="117917" cy="121805"/>
            </a:xfrm>
            <a:custGeom>
              <a:avLst/>
              <a:gdLst>
                <a:gd name="connsiteX0" fmla="*/ 3553430 w 5098945"/>
                <a:gd name="connsiteY0" fmla="*/ 213481 h 5267074"/>
                <a:gd name="connsiteX1" fmla="*/ 5098945 w 5098945"/>
                <a:gd name="connsiteY1" fmla="*/ 2633416 h 5267074"/>
                <a:gd name="connsiteX2" fmla="*/ 2547666 w 5098945"/>
                <a:gd name="connsiteY2" fmla="*/ 5267074 h 5267074"/>
                <a:gd name="connsiteX3" fmla="*/ 195783 w 5098945"/>
                <a:gd name="connsiteY3" fmla="*/ 3647847 h 5267074"/>
                <a:gd name="connsiteX4" fmla="*/ 3553430 w 5098945"/>
                <a:gd name="connsiteY4" fmla="*/ 213481 h 5267074"/>
                <a:gd name="connsiteX5" fmla="*/ 2548423 w 5098945"/>
                <a:gd name="connsiteY5" fmla="*/ 0 h 5267074"/>
                <a:gd name="connsiteX6" fmla="*/ 3146650 w 5098945"/>
                <a:gd name="connsiteY6" fmla="*/ 76261 h 5267074"/>
                <a:gd name="connsiteX7" fmla="*/ 67473 w 5098945"/>
                <a:gd name="connsiteY7" fmla="*/ 3226290 h 5267074"/>
                <a:gd name="connsiteX8" fmla="*/ 0 w 5098945"/>
                <a:gd name="connsiteY8" fmla="*/ 2634014 h 5267074"/>
                <a:gd name="connsiteX9" fmla="*/ 2548423 w 5098945"/>
                <a:gd name="connsiteY9" fmla="*/ 0 h 526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98945" h="5267074">
                  <a:moveTo>
                    <a:pt x="3553430" y="213481"/>
                  </a:moveTo>
                  <a:cubicBezTo>
                    <a:pt x="4462380" y="615340"/>
                    <a:pt x="5098945" y="1548246"/>
                    <a:pt x="5098945" y="2633416"/>
                  </a:cubicBezTo>
                  <a:cubicBezTo>
                    <a:pt x="5098945" y="4087836"/>
                    <a:pt x="3957992" y="5267074"/>
                    <a:pt x="2547666" y="5267074"/>
                  </a:cubicBezTo>
                  <a:cubicBezTo>
                    <a:pt x="1489231" y="5267074"/>
                    <a:pt x="580030" y="4598312"/>
                    <a:pt x="195783" y="3647847"/>
                  </a:cubicBezTo>
                  <a:cubicBezTo>
                    <a:pt x="1049303" y="2269686"/>
                    <a:pt x="2198784" y="1093458"/>
                    <a:pt x="3553430" y="213481"/>
                  </a:cubicBezTo>
                  <a:close/>
                  <a:moveTo>
                    <a:pt x="2548423" y="0"/>
                  </a:moveTo>
                  <a:cubicBezTo>
                    <a:pt x="2753601" y="0"/>
                    <a:pt x="2953010" y="29350"/>
                    <a:pt x="3146650" y="76261"/>
                  </a:cubicBezTo>
                  <a:cubicBezTo>
                    <a:pt x="1926869" y="912121"/>
                    <a:pt x="879908" y="1982785"/>
                    <a:pt x="67473" y="3226290"/>
                  </a:cubicBezTo>
                  <a:cubicBezTo>
                    <a:pt x="23578" y="3035638"/>
                    <a:pt x="0" y="2838965"/>
                    <a:pt x="0" y="2634014"/>
                  </a:cubicBezTo>
                  <a:cubicBezTo>
                    <a:pt x="0" y="1179035"/>
                    <a:pt x="1140771" y="0"/>
                    <a:pt x="2548423" y="0"/>
                  </a:cubicBezTo>
                  <a:close/>
                </a:path>
              </a:pathLst>
            </a:custGeom>
            <a:solidFill>
              <a:srgbClr val="9C81AF"/>
            </a:solidFill>
            <a:ln w="3175" cap="flat">
              <a:noFill/>
              <a:bevel/>
              <a:headEnd/>
              <a:tailEnd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351">
                <a:solidFill>
                  <a:srgbClr val="6473B6"/>
                </a:solidFill>
              </a:endParaRPr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8103F5E2-B4B9-1241-9D7F-78A06B7E6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7275" y="2386852"/>
              <a:ext cx="117917" cy="121805"/>
            </a:xfrm>
            <a:custGeom>
              <a:avLst/>
              <a:gdLst>
                <a:gd name="connsiteX0" fmla="*/ 3553430 w 5098945"/>
                <a:gd name="connsiteY0" fmla="*/ 213481 h 5267074"/>
                <a:gd name="connsiteX1" fmla="*/ 5098945 w 5098945"/>
                <a:gd name="connsiteY1" fmla="*/ 2633416 h 5267074"/>
                <a:gd name="connsiteX2" fmla="*/ 2547666 w 5098945"/>
                <a:gd name="connsiteY2" fmla="*/ 5267074 h 5267074"/>
                <a:gd name="connsiteX3" fmla="*/ 195783 w 5098945"/>
                <a:gd name="connsiteY3" fmla="*/ 3647847 h 5267074"/>
                <a:gd name="connsiteX4" fmla="*/ 3553430 w 5098945"/>
                <a:gd name="connsiteY4" fmla="*/ 213481 h 5267074"/>
                <a:gd name="connsiteX5" fmla="*/ 2548423 w 5098945"/>
                <a:gd name="connsiteY5" fmla="*/ 0 h 5267074"/>
                <a:gd name="connsiteX6" fmla="*/ 3146650 w 5098945"/>
                <a:gd name="connsiteY6" fmla="*/ 76261 h 5267074"/>
                <a:gd name="connsiteX7" fmla="*/ 67473 w 5098945"/>
                <a:gd name="connsiteY7" fmla="*/ 3226290 h 5267074"/>
                <a:gd name="connsiteX8" fmla="*/ 0 w 5098945"/>
                <a:gd name="connsiteY8" fmla="*/ 2634014 h 5267074"/>
                <a:gd name="connsiteX9" fmla="*/ 2548423 w 5098945"/>
                <a:gd name="connsiteY9" fmla="*/ 0 h 526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98945" h="5267074">
                  <a:moveTo>
                    <a:pt x="3553430" y="213481"/>
                  </a:moveTo>
                  <a:cubicBezTo>
                    <a:pt x="4462380" y="615340"/>
                    <a:pt x="5098945" y="1548246"/>
                    <a:pt x="5098945" y="2633416"/>
                  </a:cubicBezTo>
                  <a:cubicBezTo>
                    <a:pt x="5098945" y="4087836"/>
                    <a:pt x="3957992" y="5267074"/>
                    <a:pt x="2547666" y="5267074"/>
                  </a:cubicBezTo>
                  <a:cubicBezTo>
                    <a:pt x="1489231" y="5267074"/>
                    <a:pt x="580030" y="4598312"/>
                    <a:pt x="195783" y="3647847"/>
                  </a:cubicBezTo>
                  <a:cubicBezTo>
                    <a:pt x="1049303" y="2269686"/>
                    <a:pt x="2198784" y="1093458"/>
                    <a:pt x="3553430" y="213481"/>
                  </a:cubicBezTo>
                  <a:close/>
                  <a:moveTo>
                    <a:pt x="2548423" y="0"/>
                  </a:moveTo>
                  <a:cubicBezTo>
                    <a:pt x="2753601" y="0"/>
                    <a:pt x="2953010" y="29350"/>
                    <a:pt x="3146650" y="76261"/>
                  </a:cubicBezTo>
                  <a:cubicBezTo>
                    <a:pt x="1926869" y="912121"/>
                    <a:pt x="879908" y="1982785"/>
                    <a:pt x="67473" y="3226290"/>
                  </a:cubicBezTo>
                  <a:cubicBezTo>
                    <a:pt x="23578" y="3035638"/>
                    <a:pt x="0" y="2838965"/>
                    <a:pt x="0" y="2634014"/>
                  </a:cubicBezTo>
                  <a:cubicBezTo>
                    <a:pt x="0" y="1179035"/>
                    <a:pt x="1140771" y="0"/>
                    <a:pt x="2548423" y="0"/>
                  </a:cubicBezTo>
                  <a:close/>
                </a:path>
              </a:pathLst>
            </a:custGeom>
            <a:solidFill>
              <a:srgbClr val="19A8A2"/>
            </a:solidFill>
            <a:ln w="3175" cap="flat">
              <a:noFill/>
              <a:bevel/>
              <a:headEnd/>
              <a:tailEnd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351">
                <a:solidFill>
                  <a:srgbClr val="6473B6"/>
                </a:solidFill>
              </a:endParaRPr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D2CE730C-2F75-364D-B173-2361E40A52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rot="10800000">
              <a:off x="5822466" y="2286849"/>
              <a:ext cx="310320" cy="320553"/>
            </a:xfrm>
            <a:custGeom>
              <a:avLst/>
              <a:gdLst>
                <a:gd name="connsiteX0" fmla="*/ 3553430 w 5098945"/>
                <a:gd name="connsiteY0" fmla="*/ 213481 h 5267074"/>
                <a:gd name="connsiteX1" fmla="*/ 5098945 w 5098945"/>
                <a:gd name="connsiteY1" fmla="*/ 2633416 h 5267074"/>
                <a:gd name="connsiteX2" fmla="*/ 2547666 w 5098945"/>
                <a:gd name="connsiteY2" fmla="*/ 5267074 h 5267074"/>
                <a:gd name="connsiteX3" fmla="*/ 195783 w 5098945"/>
                <a:gd name="connsiteY3" fmla="*/ 3647847 h 5267074"/>
                <a:gd name="connsiteX4" fmla="*/ 3553430 w 5098945"/>
                <a:gd name="connsiteY4" fmla="*/ 213481 h 5267074"/>
                <a:gd name="connsiteX5" fmla="*/ 2548423 w 5098945"/>
                <a:gd name="connsiteY5" fmla="*/ 0 h 5267074"/>
                <a:gd name="connsiteX6" fmla="*/ 3146650 w 5098945"/>
                <a:gd name="connsiteY6" fmla="*/ 76261 h 5267074"/>
                <a:gd name="connsiteX7" fmla="*/ 67473 w 5098945"/>
                <a:gd name="connsiteY7" fmla="*/ 3226290 h 5267074"/>
                <a:gd name="connsiteX8" fmla="*/ 0 w 5098945"/>
                <a:gd name="connsiteY8" fmla="*/ 2634014 h 5267074"/>
                <a:gd name="connsiteX9" fmla="*/ 2548423 w 5098945"/>
                <a:gd name="connsiteY9" fmla="*/ 0 h 5267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098945" h="5267074">
                  <a:moveTo>
                    <a:pt x="3553430" y="213481"/>
                  </a:moveTo>
                  <a:cubicBezTo>
                    <a:pt x="4462380" y="615340"/>
                    <a:pt x="5098945" y="1548246"/>
                    <a:pt x="5098945" y="2633416"/>
                  </a:cubicBezTo>
                  <a:cubicBezTo>
                    <a:pt x="5098945" y="4087836"/>
                    <a:pt x="3957992" y="5267074"/>
                    <a:pt x="2547666" y="5267074"/>
                  </a:cubicBezTo>
                  <a:cubicBezTo>
                    <a:pt x="1489231" y="5267074"/>
                    <a:pt x="580030" y="4598312"/>
                    <a:pt x="195783" y="3647847"/>
                  </a:cubicBezTo>
                  <a:cubicBezTo>
                    <a:pt x="1049303" y="2269686"/>
                    <a:pt x="2198784" y="1093458"/>
                    <a:pt x="3553430" y="213481"/>
                  </a:cubicBezTo>
                  <a:close/>
                  <a:moveTo>
                    <a:pt x="2548423" y="0"/>
                  </a:moveTo>
                  <a:cubicBezTo>
                    <a:pt x="2753601" y="0"/>
                    <a:pt x="2953010" y="29350"/>
                    <a:pt x="3146650" y="76261"/>
                  </a:cubicBezTo>
                  <a:cubicBezTo>
                    <a:pt x="1926869" y="912121"/>
                    <a:pt x="879908" y="1982785"/>
                    <a:pt x="67473" y="3226290"/>
                  </a:cubicBezTo>
                  <a:cubicBezTo>
                    <a:pt x="23578" y="3035638"/>
                    <a:pt x="0" y="2838965"/>
                    <a:pt x="0" y="2634014"/>
                  </a:cubicBezTo>
                  <a:cubicBezTo>
                    <a:pt x="0" y="1179035"/>
                    <a:pt x="1140771" y="0"/>
                    <a:pt x="2548423" y="0"/>
                  </a:cubicBezTo>
                  <a:close/>
                </a:path>
              </a:pathLst>
            </a:custGeom>
            <a:solidFill>
              <a:srgbClr val="6473B6"/>
            </a:solidFill>
            <a:ln w="3175" cap="flat">
              <a:noFill/>
              <a:bevel/>
              <a:headEnd/>
              <a:tailEnd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351">
                <a:solidFill>
                  <a:srgbClr val="6473B6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075AC36-D49E-574F-8AB9-11CF18FE14CE}"/>
              </a:ext>
            </a:extLst>
          </p:cNvPr>
          <p:cNvGrpSpPr/>
          <p:nvPr userDrawn="1"/>
        </p:nvGrpSpPr>
        <p:grpSpPr>
          <a:xfrm>
            <a:off x="9424834" y="6326992"/>
            <a:ext cx="2350612" cy="283952"/>
            <a:chOff x="3186212" y="3369254"/>
            <a:chExt cx="1942652" cy="23467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BA3BED3-EFF2-4B4A-AAE3-3FCD24828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6212" y="3382993"/>
              <a:ext cx="883725" cy="220932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0ED14FB-6247-9C47-BE50-C62E4F920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83430" y="3369254"/>
              <a:ext cx="845434" cy="195378"/>
            </a:xfrm>
            <a:prstGeom prst="rect">
              <a:avLst/>
            </a:prstGeom>
          </p:spPr>
        </p:pic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59429F0-880C-5844-B593-E7C3C36B5005}"/>
                </a:ext>
              </a:extLst>
            </p:cNvPr>
            <p:cNvCxnSpPr/>
            <p:nvPr/>
          </p:nvCxnSpPr>
          <p:spPr>
            <a:xfrm>
              <a:off x="4178925" y="3395770"/>
              <a:ext cx="0" cy="170065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42341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Myriad Pro" panose="020B0503030403020204" pitchFamily="34" charset="0"/>
              </a:defRPr>
            </a:lvl1pPr>
            <a:lvl2pPr>
              <a:defRPr sz="28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512520"/>
      </p:ext>
    </p:extLst>
  </p:cSld>
  <p:clrMapOvr>
    <a:masterClrMapping/>
  </p:clrMapOvr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383EB3-07F6-4D6D-8EC3-FBFFED5B36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0A8A24E-B562-4A5D-A3CF-F28D35EF8B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208FFD-7B14-4FA9-983F-35C6B5A13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B45558-9AE2-4753-9834-C22F06B9FFA4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1C4D682-1F11-4A11-8DE9-C3977D3EE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7897517-EB1F-4D88-94F8-25B2648EE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09AA86-9E91-47D1-B193-3051406CF9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6955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5C1277-E8EC-4F1E-B538-79EA688FD6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5C1277-E8EC-4F1E-B538-79EA688FD6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C72B4F-2619-4FBE-A0A6-CAF1DBB84C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90992786"/>
      </p:ext>
    </p:extLst>
  </p:cSld>
  <p:clrMapOvr>
    <a:masterClrMapping/>
  </p:clrMapOvr>
  <p:transition spd="med"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ark blue - Bold Technology - block colour">
  <p:cSld name="Dark blue - Bold Technology - block colour">
    <p:bg>
      <p:bgPr>
        <a:solidFill>
          <a:srgbClr val="008CAA"/>
        </a:solidFill>
        <a:effectLst/>
      </p:bgPr>
    </p:bg>
    <p:spTree>
      <p:nvGrpSpPr>
        <p:cNvPr id="1" name="Shape 3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21" name="Google Shape;3121;p622" descr="Picture 10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" y="0"/>
            <a:ext cx="1226008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122" name="Google Shape;3122;p62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39A">
              <a:alpha val="49019"/>
            </a:srgbClr>
          </a:solidFill>
          <a:ln>
            <a:noFill/>
          </a:ln>
        </p:spPr>
        <p:txBody>
          <a:bodyPr spcFirstLastPara="1" wrap="square" lIns="119987" tIns="119987" rIns="119987" bIns="119987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500"/>
              <a:buFont typeface="Arial"/>
              <a:buNone/>
            </a:pPr>
            <a:endParaRPr sz="20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123" name="Google Shape;3123;p622"/>
          <p:cNvSpPr txBox="1">
            <a:spLocks noGrp="1"/>
          </p:cNvSpPr>
          <p:nvPr>
            <p:ph type="title"/>
          </p:nvPr>
        </p:nvSpPr>
        <p:spPr>
          <a:xfrm>
            <a:off x="609600" y="25573"/>
            <a:ext cx="10972800" cy="9927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300"/>
              <a:buFont typeface="Helvetica Neue"/>
              <a:buNone/>
              <a:defRPr sz="4400" b="0" i="0" u="none" strike="noStrike" cap="none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2D83"/>
              </a:buClr>
              <a:buSzPts val="2000"/>
              <a:buFont typeface="Arial"/>
              <a:buNone/>
              <a:defRPr sz="2667" b="1" i="0" u="none" strike="noStrike" cap="none">
                <a:solidFill>
                  <a:srgbClr val="0C2D8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25" name="Google Shape;3125;p622"/>
          <p:cNvSpPr txBox="1">
            <a:spLocks noGrp="1"/>
          </p:cNvSpPr>
          <p:nvPr>
            <p:ph type="body" idx="1"/>
          </p:nvPr>
        </p:nvSpPr>
        <p:spPr>
          <a:xfrm>
            <a:off x="609600" y="1451263"/>
            <a:ext cx="10972800" cy="4428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4270" tIns="34270" rIns="34270" bIns="34270" anchor="t" anchorCtr="0"/>
          <a:lstStyle>
            <a:lvl1pPr marL="609511" marR="0" lvl="0" indent="-304752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404041"/>
              </a:buClr>
              <a:buSzPts val="1800"/>
              <a:buFont typeface="Trocchi"/>
              <a:buNone/>
              <a:defRPr sz="2400" b="0" i="0" u="none" strike="noStrike" cap="none">
                <a:solidFill>
                  <a:srgbClr val="404041"/>
                </a:solidFill>
                <a:latin typeface="Trocchi"/>
                <a:ea typeface="Trocchi"/>
                <a:cs typeface="Trocchi"/>
                <a:sym typeface="Trocchi"/>
              </a:defRPr>
            </a:lvl1pPr>
            <a:lvl2pPr marL="1219016" marR="0" lvl="1" indent="-457129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404041"/>
              </a:buClr>
              <a:buSzPts val="1800"/>
              <a:buFont typeface="Trocchi"/>
              <a:buChar char="•"/>
              <a:defRPr sz="2400" b="0" i="0" u="none" strike="noStrike" cap="none">
                <a:solidFill>
                  <a:srgbClr val="404041"/>
                </a:solidFill>
                <a:latin typeface="Trocchi"/>
                <a:ea typeface="Trocchi"/>
                <a:cs typeface="Trocchi"/>
                <a:sym typeface="Trocchi"/>
              </a:defRPr>
            </a:lvl2pPr>
            <a:lvl3pPr marL="1828528" marR="0" lvl="2" indent="-457129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404041"/>
              </a:buClr>
              <a:buSzPts val="1800"/>
              <a:buFont typeface="Trocchi"/>
              <a:buChar char="–"/>
              <a:defRPr sz="2400" b="0" i="0" u="none" strike="noStrike" cap="none">
                <a:solidFill>
                  <a:srgbClr val="404041"/>
                </a:solidFill>
                <a:latin typeface="Trocchi"/>
                <a:ea typeface="Trocchi"/>
                <a:cs typeface="Trocchi"/>
                <a:sym typeface="Trocchi"/>
              </a:defRPr>
            </a:lvl3pPr>
            <a:lvl4pPr marL="2438032" marR="0" lvl="3" indent="-304752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404041"/>
              </a:buClr>
              <a:buSzPts val="1800"/>
              <a:buFont typeface="Trocchi"/>
              <a:buNone/>
              <a:defRPr sz="2400" b="0" i="0" u="none" strike="noStrike" cap="none">
                <a:solidFill>
                  <a:srgbClr val="404041"/>
                </a:solidFill>
                <a:latin typeface="Trocchi"/>
                <a:ea typeface="Trocchi"/>
                <a:cs typeface="Trocchi"/>
                <a:sym typeface="Trocchi"/>
              </a:defRPr>
            </a:lvl4pPr>
            <a:lvl5pPr marL="3047544" marR="0" lvl="4" indent="-304752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404041"/>
              </a:buClr>
              <a:buSzPts val="1800"/>
              <a:buFont typeface="Trocchi"/>
              <a:buNone/>
              <a:defRPr sz="2400" b="0" i="0" u="none" strike="noStrike" cap="none">
                <a:solidFill>
                  <a:srgbClr val="404041"/>
                </a:solidFill>
                <a:latin typeface="Trocchi"/>
                <a:ea typeface="Trocchi"/>
                <a:cs typeface="Trocchi"/>
                <a:sym typeface="Trocchi"/>
              </a:defRPr>
            </a:lvl5pPr>
            <a:lvl6pPr marL="3657049" marR="0" lvl="5" indent="-406341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defRPr sz="16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6560" marR="0" lvl="6" indent="-406341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defRPr sz="16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070" marR="0" lvl="7" indent="-406341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defRPr sz="16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5576" marR="0" lvl="8" indent="-406341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Char char="•"/>
              <a:defRPr sz="16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26" name="Google Shape;3126;p622"/>
          <p:cNvSpPr txBox="1">
            <a:spLocks noGrp="1"/>
          </p:cNvSpPr>
          <p:nvPr>
            <p:ph type="sldNum" idx="12"/>
          </p:nvPr>
        </p:nvSpPr>
        <p:spPr>
          <a:xfrm>
            <a:off x="5988000" y="6513549"/>
            <a:ext cx="216000" cy="33855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34270" tIns="34270" rIns="34270" bIns="34270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DAFB2"/>
              </a:buClr>
              <a:buSzPts val="600"/>
              <a:buFont typeface="Arial"/>
              <a:buNone/>
              <a:defRPr sz="800" b="0" i="0" u="none" strike="noStrike" cap="none">
                <a:solidFill>
                  <a:srgbClr val="ADAFB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4638848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66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52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65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 Cond" panose="020B0506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376647"/>
      </p:ext>
    </p:extLst>
  </p:cSld>
  <p:clrMapOvr>
    <a:masterClrMapping/>
  </p:clrMapOvr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 Cond" panose="020B0506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39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9A6AD5F6-4B01-4461-AAC3-6B1332B0448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809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Myriad Pro" panose="020B0503030403020204" pitchFamily="34" charset="0"/>
              </a:defRPr>
            </a:lvl1pPr>
            <a:lvl2pPr>
              <a:defRPr sz="2800">
                <a:latin typeface="Myriad Pro" panose="020B0503030403020204" pitchFamily="34" charset="0"/>
              </a:defRPr>
            </a:lvl2pPr>
            <a:lvl3pPr>
              <a:defRPr sz="2400">
                <a:latin typeface="Myriad Pro" panose="020B0503030403020204" pitchFamily="34" charset="0"/>
              </a:defRPr>
            </a:lvl3pPr>
            <a:lvl4pPr>
              <a:defRPr sz="2000">
                <a:latin typeface="Myriad Pro" panose="020B0503030403020204" pitchFamily="34" charset="0"/>
              </a:defRPr>
            </a:lvl4pPr>
            <a:lvl5pPr>
              <a:defRPr sz="2000">
                <a:latin typeface="Myriad Pro" panose="020B05030304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73471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36820"/>
      </p:ext>
    </p:extLst>
  </p:cSld>
  <p:clrMapOvr>
    <a:masterClrMapping/>
  </p:clrMapOvr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>
                <a:latin typeface="Myriad Pro" panose="020B0503030403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Myriad Pro" panose="020B05030304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281918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960818"/>
      </p:ext>
    </p:extLst>
  </p:cSld>
  <p:clrMapOvr>
    <a:masterClrMapping/>
  </p:clrMapOvr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341240"/>
      </p:ext>
    </p:extLst>
  </p:cSld>
  <p:clrMapOvr>
    <a:masterClrMapping/>
  </p:clrMapOvr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1200" y="6477000"/>
            <a:ext cx="5486400" cy="304800"/>
          </a:xfrm>
        </p:spPr>
        <p:txBody>
          <a:bodyPr anchor="ctr"/>
          <a:lstStyle>
            <a:lvl1pPr marL="0" indent="0" algn="r">
              <a:buNone/>
              <a:defRPr sz="1000">
                <a:latin typeface="Myriad Pro" panose="020B0503030403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94945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Myriad Pro" panose="020B0503030403020204" pitchFamily="34" charset="0"/>
              </a:defRPr>
            </a:lvl1pPr>
            <a:lvl2pPr>
              <a:defRPr>
                <a:latin typeface="Myriad Pro" panose="020B0503030403020204" pitchFamily="34" charset="0"/>
              </a:defRPr>
            </a:lvl2pPr>
            <a:lvl3pPr>
              <a:defRPr>
                <a:latin typeface="Myriad Pro" panose="020B0503030403020204" pitchFamily="34" charset="0"/>
              </a:defRPr>
            </a:lvl3pPr>
            <a:lvl4pPr>
              <a:defRPr>
                <a:latin typeface="Myriad Pro" panose="020B0503030403020204" pitchFamily="34" charset="0"/>
              </a:defRPr>
            </a:lvl4pPr>
            <a:lvl5pPr>
              <a:defRPr>
                <a:latin typeface="Myriad Pro" panose="020B05030304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40372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image" Target="../media/image6.png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vmlDrawing" Target="../drawings/vmlDrawing5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1.emf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0052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7688371" y="4114800"/>
            <a:ext cx="4503629" cy="2743200"/>
          </a:xfrm>
          <a:prstGeom prst="rect">
            <a:avLst/>
          </a:prstGeom>
          <a:blipFill dpi="0" rotWithShape="1">
            <a:blip r:embed="rId17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173" t="23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Myriad Pro" panose="020B0503030403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2286000"/>
            <a:ext cx="2810535" cy="3816968"/>
          </a:xfrm>
          <a:prstGeom prst="rect">
            <a:avLst/>
          </a:prstGeom>
          <a:blipFill dpi="0" rotWithShape="1">
            <a:blip r:embed="rId18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3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Myriad Pro" panose="020B05030304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9110" y="-68579"/>
            <a:ext cx="10515600" cy="11790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025" y="1501252"/>
            <a:ext cx="11203666" cy="46017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4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065" y="64598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9829800" y="1371600"/>
            <a:ext cx="1876891" cy="1872198"/>
          </a:xfrm>
          <a:prstGeom prst="rect">
            <a:avLst/>
          </a:prstGeom>
          <a:blipFill dpi="0" rotWithShape="1">
            <a:blip r:embed="rId19" cstate="print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034" t="1316" r="-2034" b="-13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Myriad Pro" panose="020B0503030403020204" pitchFamily="34" charset="0"/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635088" y="1087610"/>
            <a:ext cx="10948416" cy="0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26" descr="pepsi_logo_color"/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30291" y="455930"/>
            <a:ext cx="2057400" cy="47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235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576" userDrawn="1">
          <p15:clr>
            <a:srgbClr val="F26B43"/>
          </p15:clr>
        </p15:guide>
        <p15:guide id="4" pos="384" userDrawn="1">
          <p15:clr>
            <a:srgbClr val="F26B43"/>
          </p15:clr>
        </p15:guide>
        <p15:guide id="5" pos="7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7">
            <a:extLst>
              <a:ext uri="{FF2B5EF4-FFF2-40B4-BE49-F238E27FC236}">
                <a16:creationId xmlns:a16="http://schemas.microsoft.com/office/drawing/2014/main" id="{37847926-216F-4108-B95A-A52BFA9DD7EA}"/>
              </a:ext>
            </a:extLst>
          </p:cNvPr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5477" y="198181"/>
            <a:ext cx="786901" cy="2102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3888" y="356882"/>
            <a:ext cx="10944224" cy="1066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1388225"/>
            <a:ext cx="10944224" cy="4683963"/>
          </a:xfrm>
          <a:prstGeom prst="rect">
            <a:avLst/>
          </a:prstGeom>
        </p:spPr>
        <p:txBody>
          <a:bodyPr vert="horz" lIns="18000" tIns="18000" rIns="18000" bIns="1800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4A6E8EF-6FC2-0D44-86BD-5C20CD1FB4BE}"/>
              </a:ext>
            </a:extLst>
          </p:cNvPr>
          <p:cNvGrpSpPr/>
          <p:nvPr/>
        </p:nvGrpSpPr>
        <p:grpSpPr>
          <a:xfrm>
            <a:off x="0" y="-351936"/>
            <a:ext cx="3989823" cy="238813"/>
            <a:chOff x="0" y="-263952"/>
            <a:chExt cx="2992367" cy="179110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767C7E31-4D1F-AB4A-AD5C-22121E93D717}"/>
                </a:ext>
              </a:extLst>
            </p:cNvPr>
            <p:cNvSpPr/>
            <p:nvPr/>
          </p:nvSpPr>
          <p:spPr>
            <a:xfrm>
              <a:off x="0" y="-263951"/>
              <a:ext cx="179109" cy="179109"/>
            </a:xfrm>
            <a:prstGeom prst="ellipse">
              <a:avLst/>
            </a:prstGeom>
            <a:solidFill>
              <a:srgbClr val="48A2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97AC68B3-5D6E-BE4F-97DA-BA4B4C4FDD8D}"/>
                </a:ext>
              </a:extLst>
            </p:cNvPr>
            <p:cNvSpPr/>
            <p:nvPr/>
          </p:nvSpPr>
          <p:spPr>
            <a:xfrm>
              <a:off x="237460" y="-263952"/>
              <a:ext cx="179109" cy="179109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13BD27B9-8FBD-4347-84E2-90723834E1C8}"/>
                </a:ext>
              </a:extLst>
            </p:cNvPr>
            <p:cNvSpPr/>
            <p:nvPr/>
          </p:nvSpPr>
          <p:spPr>
            <a:xfrm>
              <a:off x="474920" y="-263951"/>
              <a:ext cx="179109" cy="179109"/>
            </a:xfrm>
            <a:prstGeom prst="ellipse">
              <a:avLst/>
            </a:prstGeom>
            <a:solidFill>
              <a:srgbClr val="0086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98742F3D-0DB9-864E-9D72-B9844F42BB7F}"/>
                </a:ext>
              </a:extLst>
            </p:cNvPr>
            <p:cNvSpPr/>
            <p:nvPr/>
          </p:nvSpPr>
          <p:spPr>
            <a:xfrm>
              <a:off x="712380" y="-263952"/>
              <a:ext cx="179109" cy="179109"/>
            </a:xfrm>
            <a:prstGeom prst="ellipse">
              <a:avLst/>
            </a:prstGeom>
            <a:solidFill>
              <a:srgbClr val="E30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5D8027BB-0232-964A-BD54-C623AC84B7B0}"/>
                </a:ext>
              </a:extLst>
            </p:cNvPr>
            <p:cNvSpPr/>
            <p:nvPr/>
          </p:nvSpPr>
          <p:spPr>
            <a:xfrm>
              <a:off x="949840" y="-263951"/>
              <a:ext cx="179109" cy="179109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3" name="Oval 112">
              <a:extLst>
                <a:ext uri="{FF2B5EF4-FFF2-40B4-BE49-F238E27FC236}">
                  <a16:creationId xmlns:a16="http://schemas.microsoft.com/office/drawing/2014/main" id="{9BD69A75-8EAD-4F4D-BF36-5D88FFB7D4AD}"/>
                </a:ext>
              </a:extLst>
            </p:cNvPr>
            <p:cNvSpPr/>
            <p:nvPr/>
          </p:nvSpPr>
          <p:spPr>
            <a:xfrm>
              <a:off x="1187300" y="-263952"/>
              <a:ext cx="179109" cy="179109"/>
            </a:xfrm>
            <a:prstGeom prst="ellipse">
              <a:avLst/>
            </a:prstGeom>
            <a:solidFill>
              <a:srgbClr val="2288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62E7FC5D-55C2-F043-A2FB-DE3E242E130A}"/>
                </a:ext>
              </a:extLst>
            </p:cNvPr>
            <p:cNvSpPr/>
            <p:nvPr/>
          </p:nvSpPr>
          <p:spPr>
            <a:xfrm>
              <a:off x="1424760" y="-263951"/>
              <a:ext cx="179109" cy="179109"/>
            </a:xfrm>
            <a:prstGeom prst="ellipse">
              <a:avLst/>
            </a:prstGeom>
            <a:solidFill>
              <a:srgbClr val="004EA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71DCA63A-8C3A-CB48-8031-CD4A928576B7}"/>
                </a:ext>
              </a:extLst>
            </p:cNvPr>
            <p:cNvSpPr/>
            <p:nvPr/>
          </p:nvSpPr>
          <p:spPr>
            <a:xfrm>
              <a:off x="1662220" y="-263952"/>
              <a:ext cx="179109" cy="179109"/>
            </a:xfrm>
            <a:prstGeom prst="ellipse">
              <a:avLst/>
            </a:prstGeom>
            <a:solidFill>
              <a:srgbClr val="87027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B814E572-C09C-D14D-897A-532D300047C9}"/>
                </a:ext>
              </a:extLst>
            </p:cNvPr>
            <p:cNvSpPr/>
            <p:nvPr/>
          </p:nvSpPr>
          <p:spPr>
            <a:xfrm>
              <a:off x="1899680" y="-263951"/>
              <a:ext cx="179109" cy="179109"/>
            </a:xfrm>
            <a:prstGeom prst="ellipse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EC7B1584-F09F-644A-9740-2C3F13E8900F}"/>
                </a:ext>
              </a:extLst>
            </p:cNvPr>
            <p:cNvSpPr/>
            <p:nvPr/>
          </p:nvSpPr>
          <p:spPr>
            <a:xfrm>
              <a:off x="2137140" y="-263952"/>
              <a:ext cx="179109" cy="179109"/>
            </a:xfrm>
            <a:prstGeom prst="ellipse">
              <a:avLst/>
            </a:prstGeom>
            <a:solidFill>
              <a:srgbClr val="2861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6320B66D-3DB4-E84A-B873-A32B086A0794}"/>
                </a:ext>
              </a:extLst>
            </p:cNvPr>
            <p:cNvSpPr/>
            <p:nvPr/>
          </p:nvSpPr>
          <p:spPr>
            <a:xfrm>
              <a:off x="2374600" y="-263951"/>
              <a:ext cx="179109" cy="179109"/>
            </a:xfrm>
            <a:prstGeom prst="ellipse">
              <a:avLst/>
            </a:prstGeom>
            <a:solidFill>
              <a:srgbClr val="002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68050B24-B678-BE4C-8DE4-12D515768FCC}"/>
                </a:ext>
              </a:extLst>
            </p:cNvPr>
            <p:cNvSpPr/>
            <p:nvPr/>
          </p:nvSpPr>
          <p:spPr>
            <a:xfrm>
              <a:off x="2593929" y="-263952"/>
              <a:ext cx="179109" cy="179109"/>
            </a:xfrm>
            <a:prstGeom prst="ellipse">
              <a:avLst/>
            </a:prstGeom>
            <a:solidFill>
              <a:srgbClr val="3C10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0955A0FB-0000-3541-832A-72AECB139F00}"/>
                </a:ext>
              </a:extLst>
            </p:cNvPr>
            <p:cNvSpPr/>
            <p:nvPr/>
          </p:nvSpPr>
          <p:spPr>
            <a:xfrm>
              <a:off x="2813258" y="-263952"/>
              <a:ext cx="179109" cy="179109"/>
            </a:xfrm>
            <a:prstGeom prst="ellipse">
              <a:avLst/>
            </a:prstGeom>
            <a:solidFill>
              <a:srgbClr val="EC51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0" i="0">
                <a:latin typeface="Arial Regular"/>
              </a:endParaRPr>
            </a:p>
          </p:txBody>
        </p:sp>
      </p:grpSp>
      <p:sp>
        <p:nvSpPr>
          <p:cNvPr id="22" name="Freeform 27">
            <a:extLst>
              <a:ext uri="{FF2B5EF4-FFF2-40B4-BE49-F238E27FC236}">
                <a16:creationId xmlns:a16="http://schemas.microsoft.com/office/drawing/2014/main" id="{FE7C14EE-F23D-B941-957C-B88DA01A98A8}"/>
              </a:ext>
            </a:extLst>
          </p:cNvPr>
          <p:cNvSpPr/>
          <p:nvPr/>
        </p:nvSpPr>
        <p:spPr>
          <a:xfrm>
            <a:off x="11575088" y="229719"/>
            <a:ext cx="342372" cy="21160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0102"/>
                </a:moveTo>
                <a:cubicBezTo>
                  <a:pt x="21600" y="7710"/>
                  <a:pt x="20450" y="5516"/>
                  <a:pt x="18233" y="5516"/>
                </a:cubicBezTo>
                <a:cubicBezTo>
                  <a:pt x="15995" y="5516"/>
                  <a:pt x="15995" y="5516"/>
                  <a:pt x="15995" y="5516"/>
                </a:cubicBezTo>
                <a:cubicBezTo>
                  <a:pt x="15995" y="9836"/>
                  <a:pt x="15995" y="9836"/>
                  <a:pt x="15995" y="9836"/>
                </a:cubicBezTo>
                <a:cubicBezTo>
                  <a:pt x="13079" y="9836"/>
                  <a:pt x="13079" y="9836"/>
                  <a:pt x="13079" y="9836"/>
                </a:cubicBezTo>
                <a:cubicBezTo>
                  <a:pt x="11909" y="13359"/>
                  <a:pt x="11909" y="13359"/>
                  <a:pt x="11909" y="13359"/>
                </a:cubicBezTo>
                <a:cubicBezTo>
                  <a:pt x="10677" y="9836"/>
                  <a:pt x="10677" y="9836"/>
                  <a:pt x="10677" y="9836"/>
                </a:cubicBezTo>
                <a:cubicBezTo>
                  <a:pt x="9116" y="9836"/>
                  <a:pt x="9116" y="9836"/>
                  <a:pt x="9116" y="9836"/>
                </a:cubicBezTo>
                <a:cubicBezTo>
                  <a:pt x="9301" y="9039"/>
                  <a:pt x="9383" y="8208"/>
                  <a:pt x="9383" y="7377"/>
                </a:cubicBezTo>
                <a:cubicBezTo>
                  <a:pt x="9383" y="7311"/>
                  <a:pt x="9383" y="7311"/>
                  <a:pt x="9383" y="7311"/>
                </a:cubicBezTo>
                <a:cubicBezTo>
                  <a:pt x="9383" y="5350"/>
                  <a:pt x="8911" y="3489"/>
                  <a:pt x="8049" y="2127"/>
                </a:cubicBezTo>
                <a:cubicBezTo>
                  <a:pt x="7166" y="764"/>
                  <a:pt x="5995" y="0"/>
                  <a:pt x="4702" y="0"/>
                </a:cubicBezTo>
                <a:cubicBezTo>
                  <a:pt x="3408" y="0"/>
                  <a:pt x="2217" y="764"/>
                  <a:pt x="1335" y="2160"/>
                </a:cubicBezTo>
                <a:cubicBezTo>
                  <a:pt x="924" y="2825"/>
                  <a:pt x="575" y="3622"/>
                  <a:pt x="349" y="4486"/>
                </a:cubicBezTo>
                <a:cubicBezTo>
                  <a:pt x="103" y="5383"/>
                  <a:pt x="0" y="6347"/>
                  <a:pt x="0" y="7377"/>
                </a:cubicBezTo>
                <a:cubicBezTo>
                  <a:pt x="0" y="7410"/>
                  <a:pt x="0" y="7410"/>
                  <a:pt x="0" y="7410"/>
                </a:cubicBezTo>
                <a:cubicBezTo>
                  <a:pt x="0" y="9371"/>
                  <a:pt x="472" y="11232"/>
                  <a:pt x="1335" y="12594"/>
                </a:cubicBezTo>
                <a:cubicBezTo>
                  <a:pt x="2197" y="13957"/>
                  <a:pt x="3408" y="14721"/>
                  <a:pt x="4681" y="14721"/>
                </a:cubicBezTo>
                <a:cubicBezTo>
                  <a:pt x="5831" y="14721"/>
                  <a:pt x="6899" y="14123"/>
                  <a:pt x="7741" y="13026"/>
                </a:cubicBezTo>
                <a:cubicBezTo>
                  <a:pt x="7741" y="21600"/>
                  <a:pt x="7741" y="21600"/>
                  <a:pt x="7741" y="21600"/>
                </a:cubicBezTo>
                <a:cubicBezTo>
                  <a:pt x="10307" y="21600"/>
                  <a:pt x="10307" y="21600"/>
                  <a:pt x="10307" y="21600"/>
                </a:cubicBezTo>
                <a:cubicBezTo>
                  <a:pt x="10307" y="16782"/>
                  <a:pt x="10307" y="16782"/>
                  <a:pt x="10307" y="16782"/>
                </a:cubicBezTo>
                <a:cubicBezTo>
                  <a:pt x="11909" y="20470"/>
                  <a:pt x="11909" y="20470"/>
                  <a:pt x="11909" y="20470"/>
                </a:cubicBezTo>
                <a:cubicBezTo>
                  <a:pt x="13449" y="16782"/>
                  <a:pt x="13449" y="16782"/>
                  <a:pt x="13449" y="16782"/>
                </a:cubicBezTo>
                <a:cubicBezTo>
                  <a:pt x="13449" y="21600"/>
                  <a:pt x="13449" y="21600"/>
                  <a:pt x="13449" y="21600"/>
                </a:cubicBezTo>
                <a:cubicBezTo>
                  <a:pt x="16015" y="21600"/>
                  <a:pt x="16015" y="21600"/>
                  <a:pt x="16015" y="21600"/>
                </a:cubicBezTo>
                <a:cubicBezTo>
                  <a:pt x="16015" y="14954"/>
                  <a:pt x="16015" y="14954"/>
                  <a:pt x="16015" y="14954"/>
                </a:cubicBezTo>
                <a:cubicBezTo>
                  <a:pt x="18171" y="14954"/>
                  <a:pt x="18171" y="14954"/>
                  <a:pt x="18171" y="14954"/>
                </a:cubicBezTo>
                <a:cubicBezTo>
                  <a:pt x="20409" y="14954"/>
                  <a:pt x="21600" y="12927"/>
                  <a:pt x="21600" y="10235"/>
                </a:cubicBezTo>
                <a:lnTo>
                  <a:pt x="21600" y="10102"/>
                </a:lnTo>
                <a:close/>
                <a:moveTo>
                  <a:pt x="6180" y="7410"/>
                </a:moveTo>
                <a:cubicBezTo>
                  <a:pt x="6180" y="8673"/>
                  <a:pt x="5667" y="9903"/>
                  <a:pt x="4702" y="9903"/>
                </a:cubicBezTo>
                <a:cubicBezTo>
                  <a:pt x="3716" y="9903"/>
                  <a:pt x="3183" y="8673"/>
                  <a:pt x="3183" y="7377"/>
                </a:cubicBezTo>
                <a:cubicBezTo>
                  <a:pt x="3183" y="7311"/>
                  <a:pt x="3183" y="7311"/>
                  <a:pt x="3183" y="7311"/>
                </a:cubicBezTo>
                <a:cubicBezTo>
                  <a:pt x="3183" y="6048"/>
                  <a:pt x="3696" y="4785"/>
                  <a:pt x="4681" y="4785"/>
                </a:cubicBezTo>
                <a:cubicBezTo>
                  <a:pt x="5667" y="4785"/>
                  <a:pt x="6180" y="6015"/>
                  <a:pt x="6180" y="7377"/>
                </a:cubicBezTo>
                <a:lnTo>
                  <a:pt x="6180" y="7410"/>
                </a:lnTo>
                <a:close/>
                <a:moveTo>
                  <a:pt x="19629" y="10202"/>
                </a:moveTo>
                <a:cubicBezTo>
                  <a:pt x="19629" y="11365"/>
                  <a:pt x="19054" y="11863"/>
                  <a:pt x="18397" y="11863"/>
                </a:cubicBezTo>
                <a:cubicBezTo>
                  <a:pt x="18027" y="11863"/>
                  <a:pt x="18027" y="11863"/>
                  <a:pt x="18027" y="11863"/>
                </a:cubicBezTo>
                <a:cubicBezTo>
                  <a:pt x="18027" y="8507"/>
                  <a:pt x="18027" y="8507"/>
                  <a:pt x="18027" y="8507"/>
                </a:cubicBezTo>
                <a:cubicBezTo>
                  <a:pt x="18397" y="8507"/>
                  <a:pt x="18397" y="8507"/>
                  <a:pt x="18397" y="8507"/>
                </a:cubicBezTo>
                <a:cubicBezTo>
                  <a:pt x="19054" y="8507"/>
                  <a:pt x="19629" y="9039"/>
                  <a:pt x="19629" y="10169"/>
                </a:cubicBezTo>
                <a:lnTo>
                  <a:pt x="19629" y="1020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61094" tIns="61094" rIns="61094" bIns="61094"/>
          <a:lstStyle/>
          <a:p>
            <a:pPr marL="0" marR="0" lvl="0" indent="0" defTabSz="78222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1D1D1D"/>
                </a:solidFill>
              </a:defRPr>
            </a:pPr>
            <a:endParaRPr kumimoji="0" sz="1539" b="0" i="0" u="none" strike="noStrike" kern="0" cap="none" spc="0" normalizeH="0" baseline="0" noProof="0">
              <a:ln>
                <a:noFill/>
              </a:ln>
              <a:solidFill>
                <a:srgbClr val="1D1D1D"/>
              </a:solidFill>
              <a:effectLst/>
              <a:uLnTx/>
              <a:uFillTx/>
              <a:latin typeface="Arial Regular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7FC9A07-F976-2844-A778-FE8D816940CC}"/>
              </a:ext>
            </a:extLst>
          </p:cNvPr>
          <p:cNvCxnSpPr>
            <a:cxnSpLocks/>
          </p:cNvCxnSpPr>
          <p:nvPr/>
        </p:nvCxnSpPr>
        <p:spPr>
          <a:xfrm>
            <a:off x="623888" y="6315077"/>
            <a:ext cx="109512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Slide Number Placeholder 5">
            <a:extLst>
              <a:ext uri="{FF2B5EF4-FFF2-40B4-BE49-F238E27FC236}">
                <a16:creationId xmlns:a16="http://schemas.microsoft.com/office/drawing/2014/main" id="{DEE02939-5455-D846-8BCC-C23787B42C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40133" y="6346240"/>
            <a:ext cx="527980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700" b="0" i="0">
                <a:solidFill>
                  <a:schemeClr val="tx1"/>
                </a:solidFill>
                <a:latin typeface="Arial Regular"/>
              </a:defRPr>
            </a:lvl1pPr>
          </a:lstStyle>
          <a:p>
            <a:fld id="{B4653C60-DF81-438F-BE17-4AEF6997177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6" name="Footer Placeholder 2">
            <a:extLst>
              <a:ext uri="{FF2B5EF4-FFF2-40B4-BE49-F238E27FC236}">
                <a16:creationId xmlns:a16="http://schemas.microsoft.com/office/drawing/2014/main" id="{9ACB5EF6-7C25-2444-BD03-1BE4ADC082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3227" y="6346240"/>
            <a:ext cx="10331824" cy="2165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GB" sz="700" b="0" i="0" smtClean="0">
                <a:latin typeface="Arial Regular"/>
              </a:defRPr>
            </a:lvl1pPr>
          </a:lstStyle>
          <a:p>
            <a:r>
              <a:rPr lang="en-GB"/>
              <a:t>Presentation Title   |  Client</a:t>
            </a:r>
          </a:p>
        </p:txBody>
      </p:sp>
    </p:spTree>
    <p:extLst>
      <p:ext uri="{BB962C8B-B14F-4D97-AF65-F5344CB8AC3E}">
        <p14:creationId xmlns:p14="http://schemas.microsoft.com/office/powerpoint/2010/main" val="1027359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0" r:id="rId28"/>
    <p:sldLayoutId id="2147483711" r:id="rId29"/>
    <p:sldLayoutId id="2147483712" r:id="rId30"/>
    <p:sldLayoutId id="2147483713" r:id="rId31"/>
    <p:sldLayoutId id="2147483714" r:id="rId32"/>
    <p:sldLayoutId id="2147483715" r:id="rId33"/>
    <p:sldLayoutId id="2147483716" r:id="rId34"/>
    <p:sldLayoutId id="2147483717" r:id="rId35"/>
    <p:sldLayoutId id="2147483718" r:id="rId36"/>
    <p:sldLayoutId id="2147483719" r:id="rId37"/>
    <p:sldLayoutId id="2147483720" r:id="rId38"/>
    <p:sldLayoutId id="2147483721" r:id="rId39"/>
    <p:sldLayoutId id="2147483722" r:id="rId40"/>
    <p:sldLayoutId id="2147483723" r:id="rId41"/>
    <p:sldLayoutId id="2147483724" r:id="rId42"/>
    <p:sldLayoutId id="2147483725" r:id="rId43"/>
    <p:sldLayoutId id="2147483726" r:id="rId44"/>
    <p:sldLayoutId id="2147483727" r:id="rId45"/>
    <p:sldLayoutId id="2147483728" r:id="rId46"/>
    <p:sldLayoutId id="2147483729" r:id="rId47"/>
    <p:sldLayoutId id="2147483730" r:id="rId48"/>
    <p:sldLayoutId id="2147483731" r:id="rId49"/>
    <p:sldLayoutId id="2147483732" r:id="rId50"/>
    <p:sldLayoutId id="2147483733" r:id="rId51"/>
    <p:sldLayoutId id="2147483734" r:id="rId52"/>
    <p:sldLayoutId id="2147483735" r:id="rId53"/>
    <p:sldLayoutId id="2147483736" r:id="rId54"/>
    <p:sldLayoutId id="2147483737" r:id="rId55"/>
    <p:sldLayoutId id="2147483738" r:id="rId56"/>
    <p:sldLayoutId id="2147483739" r:id="rId57"/>
    <p:sldLayoutId id="2147483740" r:id="rId58"/>
    <p:sldLayoutId id="2147483741" r:id="rId59"/>
    <p:sldLayoutId id="2147483742" r:id="rId60"/>
    <p:sldLayoutId id="2147483743" r:id="rId61"/>
  </p:sldLayoutIdLst>
  <p:hf hdr="0" dt="0"/>
  <p:txStyles>
    <p:titleStyle>
      <a:lvl1pPr algn="l" defTabSz="484828" rtl="0" eaLnBrk="1" latinLnBrk="0" hangingPunct="1">
        <a:lnSpc>
          <a:spcPct val="100000"/>
        </a:lnSpc>
        <a:spcBef>
          <a:spcPct val="0"/>
        </a:spcBef>
        <a:buNone/>
        <a:defRPr lang="en-US" sz="2800" b="1" i="0" kern="1200" cap="none" spc="0" baseline="0" dirty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484828" rtl="0" eaLnBrk="1" latinLnBrk="0" hangingPunct="1">
        <a:lnSpc>
          <a:spcPct val="100000"/>
        </a:lnSpc>
        <a:spcBef>
          <a:spcPts val="1200"/>
        </a:spcBef>
        <a:spcAft>
          <a:spcPts val="800"/>
        </a:spcAft>
        <a:buFont typeface="Arial" panose="020B0604020202020204" pitchFamily="34" charset="0"/>
        <a:buNone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7792" indent="-177792" algn="l" defTabSz="48482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61934" indent="-184142" algn="l" defTabSz="48482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539724" indent="-180966" algn="l" defTabSz="48482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717515" indent="-180966" algn="l" defTabSz="484828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333277" indent="-121208" algn="l" defTabSz="484828" rtl="0" eaLnBrk="1" latinLnBrk="0" hangingPunct="1">
        <a:lnSpc>
          <a:spcPct val="90000"/>
        </a:lnSpc>
        <a:spcBef>
          <a:spcPts val="265"/>
        </a:spcBef>
        <a:buFont typeface="Arial" panose="020B0604020202020204" pitchFamily="34" charset="0"/>
        <a:buChar char="•"/>
        <a:defRPr sz="955" kern="1200">
          <a:solidFill>
            <a:schemeClr val="tx1"/>
          </a:solidFill>
          <a:latin typeface="+mn-lt"/>
          <a:ea typeface="+mn-ea"/>
          <a:cs typeface="+mn-cs"/>
        </a:defRPr>
      </a:lvl6pPr>
      <a:lvl7pPr marL="1575691" indent="-121208" algn="l" defTabSz="484828" rtl="0" eaLnBrk="1" latinLnBrk="0" hangingPunct="1">
        <a:lnSpc>
          <a:spcPct val="90000"/>
        </a:lnSpc>
        <a:spcBef>
          <a:spcPts val="265"/>
        </a:spcBef>
        <a:buFont typeface="Arial" panose="020B0604020202020204" pitchFamily="34" charset="0"/>
        <a:buChar char="•"/>
        <a:defRPr sz="955" kern="1200">
          <a:solidFill>
            <a:schemeClr val="tx1"/>
          </a:solidFill>
          <a:latin typeface="+mn-lt"/>
          <a:ea typeface="+mn-ea"/>
          <a:cs typeface="+mn-cs"/>
        </a:defRPr>
      </a:lvl7pPr>
      <a:lvl8pPr marL="1818105" indent="-121208" algn="l" defTabSz="484828" rtl="0" eaLnBrk="1" latinLnBrk="0" hangingPunct="1">
        <a:lnSpc>
          <a:spcPct val="90000"/>
        </a:lnSpc>
        <a:spcBef>
          <a:spcPts val="265"/>
        </a:spcBef>
        <a:buFont typeface="Arial" panose="020B0604020202020204" pitchFamily="34" charset="0"/>
        <a:buChar char="•"/>
        <a:defRPr sz="955" kern="1200">
          <a:solidFill>
            <a:schemeClr val="tx1"/>
          </a:solidFill>
          <a:latin typeface="+mn-lt"/>
          <a:ea typeface="+mn-ea"/>
          <a:cs typeface="+mn-cs"/>
        </a:defRPr>
      </a:lvl8pPr>
      <a:lvl9pPr marL="2060519" indent="-121208" algn="l" defTabSz="484828" rtl="0" eaLnBrk="1" latinLnBrk="0" hangingPunct="1">
        <a:lnSpc>
          <a:spcPct val="90000"/>
        </a:lnSpc>
        <a:spcBef>
          <a:spcPts val="265"/>
        </a:spcBef>
        <a:buFont typeface="Arial" panose="020B0604020202020204" pitchFamily="34" charset="0"/>
        <a:buChar char="•"/>
        <a:defRPr sz="95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1pPr>
      <a:lvl2pPr marL="242415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2pPr>
      <a:lvl3pPr marL="484828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3pPr>
      <a:lvl4pPr marL="727242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4pPr>
      <a:lvl5pPr marL="969657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5pPr>
      <a:lvl6pPr marL="1212070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6pPr>
      <a:lvl7pPr marL="1454484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7pPr>
      <a:lvl8pPr marL="1696898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8pPr>
      <a:lvl9pPr marL="1939313" algn="l" defTabSz="484828" rtl="0" eaLnBrk="1" latinLnBrk="0" hangingPunct="1">
        <a:defRPr sz="9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287">
          <p15:clr>
            <a:srgbClr val="F26B43"/>
          </p15:clr>
        </p15:guide>
        <p15:guide id="6" orient="horz" pos="278">
          <p15:clr>
            <a:srgbClr val="F26B43"/>
          </p15:clr>
        </p15:guide>
        <p15:guide id="8" orient="horz" pos="4042">
          <p15:clr>
            <a:srgbClr val="F26B43"/>
          </p15:clr>
        </p15:guide>
        <p15:guide id="11" pos="4951">
          <p15:clr>
            <a:srgbClr val="F26B43"/>
          </p15:clr>
        </p15:guide>
        <p15:guide id="37" pos="393">
          <p15:clr>
            <a:srgbClr val="F26B43"/>
          </p15:clr>
        </p15:guide>
        <p15:guide id="41" pos="2729">
          <p15:clr>
            <a:srgbClr val="F26B43"/>
          </p15:clr>
        </p15:guide>
        <p15:guide id="43" pos="2615">
          <p15:clr>
            <a:srgbClr val="F26B43"/>
          </p15:clr>
        </p15:guide>
        <p15:guide id="47" pos="5065">
          <p15:clr>
            <a:srgbClr val="F26B43"/>
          </p15:clr>
        </p15:guide>
        <p15:guide id="53" orient="horz" pos="822">
          <p15:clr>
            <a:srgbClr val="F26B43"/>
          </p15:clr>
        </p15:guide>
        <p15:guide id="54" orient="horz" pos="913">
          <p15:clr>
            <a:srgbClr val="F26B43"/>
          </p15:clr>
        </p15:guide>
        <p15:guide id="58" orient="horz" pos="1457">
          <p15:clr>
            <a:srgbClr val="F26B43"/>
          </p15:clr>
        </p15:guide>
        <p15:guide id="59" orient="horz" pos="1570">
          <p15:clr>
            <a:srgbClr val="F26B43"/>
          </p15:clr>
        </p15:guide>
        <p15:guide id="62" orient="horz" pos="2092">
          <p15:clr>
            <a:srgbClr val="F26B43"/>
          </p15:clr>
        </p15:guide>
        <p15:guide id="63" orient="horz" pos="2205">
          <p15:clr>
            <a:srgbClr val="F26B43"/>
          </p15:clr>
        </p15:guide>
        <p15:guide id="66" orient="horz" pos="2750">
          <p15:clr>
            <a:srgbClr val="F26B43"/>
          </p15:clr>
        </p15:guide>
        <p15:guide id="67" orient="horz" pos="2863">
          <p15:clr>
            <a:srgbClr val="F26B43"/>
          </p15:clr>
        </p15:guide>
        <p15:guide id="70" orient="horz" pos="3385">
          <p15:clr>
            <a:srgbClr val="F26B43"/>
          </p15:clr>
        </p15:guide>
        <p15:guide id="71" orient="horz" pos="349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7688371" y="4114800"/>
            <a:ext cx="4503629" cy="2743200"/>
          </a:xfrm>
          <a:prstGeom prst="rect">
            <a:avLst/>
          </a:prstGeom>
          <a:blipFill dpi="0" rotWithShape="1">
            <a:blip r:embed="rId17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173" t="2302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" y="2286000"/>
            <a:ext cx="2810535" cy="3816968"/>
          </a:xfrm>
          <a:prstGeom prst="rect">
            <a:avLst/>
          </a:prstGeom>
          <a:blipFill dpi="0" rotWithShape="1">
            <a:blip r:embed="rId18" cstate="screen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3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9110" y="-68579"/>
            <a:ext cx="10515600" cy="11790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025" y="1501252"/>
            <a:ext cx="11203666" cy="46017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5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8065" y="64598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9800" y="1371600"/>
            <a:ext cx="1876891" cy="1872198"/>
          </a:xfrm>
          <a:prstGeom prst="rect">
            <a:avLst/>
          </a:prstGeom>
          <a:blipFill dpi="0" rotWithShape="1">
            <a:blip r:embed="rId19" cstate="print">
              <a:alphaModFix amt="8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2034" t="1316" r="-2034" b="-131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 bwMode="auto">
          <a:xfrm>
            <a:off x="635088" y="1087610"/>
            <a:ext cx="10948416" cy="0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26" descr="pepsi_logo_color"/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30291" y="455930"/>
            <a:ext cx="2057400" cy="47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0639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>
              <a:lumMod val="50000"/>
              <a:lumOff val="50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85000"/>
        </a:lnSpc>
        <a:spcBef>
          <a:spcPts val="1200"/>
        </a:spcBef>
        <a:buClr>
          <a:srgbClr val="0070C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yriad Pro" panose="020B05030304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pos="384">
          <p15:clr>
            <a:srgbClr val="F26B43"/>
          </p15:clr>
        </p15:guide>
        <p15:guide id="5" pos="7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75.jpeg"/><Relationship Id="rId5" Type="http://schemas.openxmlformats.org/officeDocument/2006/relationships/image" Target="../media/image74.jpeg"/><Relationship Id="rId4" Type="http://schemas.openxmlformats.org/officeDocument/2006/relationships/image" Target="../media/image73.jpeg"/><Relationship Id="rId9" Type="http://schemas.openxmlformats.org/officeDocument/2006/relationships/image" Target="../media/image78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jpeg"/><Relationship Id="rId7" Type="http://schemas.openxmlformats.org/officeDocument/2006/relationships/image" Target="../media/image84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83.jpeg"/><Relationship Id="rId5" Type="http://schemas.openxmlformats.org/officeDocument/2006/relationships/image" Target="../media/image82.png"/><Relationship Id="rId4" Type="http://schemas.openxmlformats.org/officeDocument/2006/relationships/image" Target="../media/image81.jpeg"/><Relationship Id="rId9" Type="http://schemas.openxmlformats.org/officeDocument/2006/relationships/image" Target="../media/image8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microsoft.com/office/2007/relationships/hdphoto" Target="../media/hdphoto1.wdp"/><Relationship Id="rId26" Type="http://schemas.openxmlformats.org/officeDocument/2006/relationships/image" Target="../media/image35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30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4.png"/><Relationship Id="rId2" Type="http://schemas.openxmlformats.org/officeDocument/2006/relationships/tags" Target="../tags/tag9.xml"/><Relationship Id="rId16" Type="http://schemas.openxmlformats.org/officeDocument/2006/relationships/image" Target="../media/image27.png"/><Relationship Id="rId20" Type="http://schemas.microsoft.com/office/2007/relationships/hdphoto" Target="../media/hdphoto2.wdp"/><Relationship Id="rId29" Type="http://schemas.openxmlformats.org/officeDocument/2006/relationships/image" Target="../media/image38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22.png"/><Relationship Id="rId24" Type="http://schemas.openxmlformats.org/officeDocument/2006/relationships/image" Target="../media/image33.png"/><Relationship Id="rId32" Type="http://schemas.openxmlformats.org/officeDocument/2006/relationships/image" Target="../media/image41.jpe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26.tif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21.jpeg"/><Relationship Id="rId19" Type="http://schemas.openxmlformats.org/officeDocument/2006/relationships/image" Target="../media/image29.png"/><Relationship Id="rId31" Type="http://schemas.openxmlformats.org/officeDocument/2006/relationships/image" Target="../media/image4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0.png"/><Relationship Id="rId14" Type="http://schemas.openxmlformats.org/officeDocument/2006/relationships/image" Target="../media/image25.tif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5.jpe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0" Type="http://schemas.openxmlformats.org/officeDocument/2006/relationships/image" Target="../media/image49.jpeg"/><Relationship Id="rId4" Type="http://schemas.openxmlformats.org/officeDocument/2006/relationships/image" Target="../media/image43.jpeg"/><Relationship Id="rId9" Type="http://schemas.openxmlformats.org/officeDocument/2006/relationships/image" Target="../media/image48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A8710E6-61DC-4736-BDFC-7D9E91B78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0355" y="1459632"/>
            <a:ext cx="6511290" cy="1179049"/>
          </a:xfrm>
        </p:spPr>
        <p:txBody>
          <a:bodyPr anchor="ctr">
            <a:normAutofit fontScale="90000"/>
          </a:bodyPr>
          <a:lstStyle/>
          <a:p>
            <a:pPr lvl="0" algn="ctr">
              <a:lnSpc>
                <a:spcPct val="100000"/>
              </a:lnSpc>
              <a:spcBef>
                <a:spcPts val="0"/>
              </a:spcBef>
            </a:pPr>
            <a:r>
              <a:rPr lang="ru-RU" sz="5400" dirty="0">
                <a:latin typeface="+mj-lt"/>
              </a:rPr>
              <a:t>Две стороны таргетинга</a:t>
            </a:r>
            <a:br>
              <a:rPr lang="en-US" sz="5400" dirty="0">
                <a:latin typeface="+mj-lt"/>
              </a:rPr>
            </a:br>
            <a:r>
              <a:rPr lang="ru-RU" sz="4000" b="0" dirty="0">
                <a:solidFill>
                  <a:prstClr val="black">
                    <a:lumMod val="50000"/>
                    <a:lumOff val="50000"/>
                  </a:prstClr>
                </a:solidFill>
                <a:ea typeface="+mn-ea"/>
                <a:cs typeface="+mn-cs"/>
              </a:rPr>
              <a:t>данные и измерения </a:t>
            </a:r>
            <a:endParaRPr lang="ru-RU" sz="5400" dirty="0">
              <a:latin typeface="+mj-lt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0387262-F520-4D24-BD7C-D8940DD3E90E}"/>
              </a:ext>
            </a:extLst>
          </p:cNvPr>
          <p:cNvSpPr/>
          <p:nvPr/>
        </p:nvSpPr>
        <p:spPr>
          <a:xfrm>
            <a:off x="3273753" y="3351227"/>
            <a:ext cx="5644494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rPr>
              <a:t>Владимир Степанов</a:t>
            </a:r>
          </a:p>
          <a:p>
            <a:pPr algn="ctr"/>
            <a:r>
              <a:rPr lang="ru-RU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rPr>
              <a:t>Директор по Медиа Стратегии</a:t>
            </a:r>
          </a:p>
          <a:p>
            <a:pPr algn="ctr"/>
            <a:r>
              <a:rPr lang="ru-RU" sz="3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rPr>
              <a:t>ПепсиКо</a:t>
            </a:r>
            <a:r>
              <a:rPr lang="ru-RU" sz="320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rPr>
              <a:t> Россия</a:t>
            </a:r>
          </a:p>
        </p:txBody>
      </p:sp>
      <p:pic>
        <p:nvPicPr>
          <p:cNvPr id="10244" name="Picture 4" descr="Simple User Icon transparent PNG - StickPNG">
            <a:extLst>
              <a:ext uri="{FF2B5EF4-FFF2-40B4-BE49-F238E27FC236}">
                <a16:creationId xmlns:a16="http://schemas.microsoft.com/office/drawing/2014/main" id="{3CD205C6-7092-4714-8342-327FE1C70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552" y="3631546"/>
            <a:ext cx="2261798" cy="2261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user, woman, profile, Avatar, Social icon">
            <a:extLst>
              <a:ext uri="{FF2B5EF4-FFF2-40B4-BE49-F238E27FC236}">
                <a16:creationId xmlns:a16="http://schemas.microsoft.com/office/drawing/2014/main" id="{55D91A62-1829-4C7D-A532-2A5BA77DC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820" y="3631546"/>
            <a:ext cx="2261798" cy="2261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66751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s://avatars.mds.yandex.net/get-zen_doc/1692094/pub_5d9dbe10a660d774c818f186_5d9dbe2ef73d9d66d7127a6d/scale_12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5090" y="-369203"/>
            <a:ext cx="12277090" cy="815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566" y="285848"/>
            <a:ext cx="4303552" cy="2867226"/>
          </a:xfrm>
        </p:spPr>
        <p:txBody>
          <a:bodyPr>
            <a:noAutofit/>
          </a:bodyPr>
          <a:lstStyle/>
          <a:p>
            <a:r>
              <a:rPr lang="ru-RU" sz="5400" dirty="0"/>
              <a:t>Правда, не любого мы могли измерить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2461641" y="5288651"/>
            <a:ext cx="9521503" cy="1018563"/>
          </a:xfrm>
        </p:spPr>
        <p:txBody>
          <a:bodyPr vert="horz" lIns="91440" tIns="45720" rIns="91440" bIns="45720" rtlCol="0" anchor="b" anchorCtr="0">
            <a:noAutofit/>
          </a:bodyPr>
          <a:lstStyle/>
          <a:p>
            <a:pPr algn="l">
              <a:lnSpc>
                <a:spcPct val="90000"/>
              </a:lnSpc>
              <a:spcBef>
                <a:spcPct val="0"/>
              </a:spcBef>
            </a:pPr>
            <a:r>
              <a:rPr lang="ru-RU" sz="5400" b="1" dirty="0">
                <a:solidFill>
                  <a:schemeClr val="tx1">
                    <a:lumMod val="50000"/>
                    <a:lumOff val="50000"/>
                  </a:schemeClr>
                </a:solidFill>
                <a:ea typeface="+mj-ea"/>
                <a:cs typeface="+mj-cs"/>
              </a:rPr>
              <a:t>Мамы с детьми от 0 до 3 лет</a:t>
            </a:r>
          </a:p>
        </p:txBody>
      </p:sp>
    </p:spTree>
    <p:extLst>
      <p:ext uri="{BB962C8B-B14F-4D97-AF65-F5344CB8AC3E}">
        <p14:creationId xmlns:p14="http://schemas.microsoft.com/office/powerpoint/2010/main" val="23250242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5" descr="Изображение выглядит как фрукт, стол, сидит, яблоко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0AA71275-831F-4840-BA80-3D66CFCC7E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2013" y="-88061"/>
            <a:ext cx="12289763" cy="770985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7212" y="1570939"/>
            <a:ext cx="7676745" cy="1179049"/>
          </a:xfrm>
        </p:spPr>
        <p:txBody>
          <a:bodyPr>
            <a:noAutofit/>
          </a:bodyPr>
          <a:lstStyle/>
          <a:p>
            <a:r>
              <a:rPr lang="ru-RU" sz="4800" dirty="0">
                <a:solidFill>
                  <a:schemeClr val="bg1"/>
                </a:solidFill>
                <a:latin typeface="Myriad Pro"/>
              </a:rPr>
              <a:t>А измерив, выяснили, </a:t>
            </a:r>
            <a:br>
              <a:rPr lang="ru-RU" sz="4800" dirty="0">
                <a:solidFill>
                  <a:schemeClr val="bg1"/>
                </a:solidFill>
              </a:rPr>
            </a:br>
            <a:r>
              <a:rPr lang="ru-RU" sz="4800" dirty="0">
                <a:solidFill>
                  <a:schemeClr val="bg1"/>
                </a:solidFill>
                <a:latin typeface="Myriad Pro"/>
              </a:rPr>
              <a:t>что не всегда попадаем точно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88070" y="2906294"/>
            <a:ext cx="6243751" cy="363176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1500" b="1">
                <a:solidFill>
                  <a:schemeClr val="bg1"/>
                </a:solidFill>
              </a:rPr>
              <a:t>От 16% 	 до 60%</a:t>
            </a:r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693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s://avatars.mds.yandex.net/get-pdb/985144/b2699bf1-249f-47df-987d-129ff4031d21/s1200?webp=fals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4300" y="-482922"/>
            <a:ext cx="12328187" cy="7593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947" y="0"/>
            <a:ext cx="7106762" cy="2441197"/>
          </a:xfrm>
          <a:solidFill>
            <a:schemeClr val="bg1">
              <a:lumMod val="95000"/>
              <a:alpha val="70000"/>
            </a:schemeClr>
          </a:solidFill>
        </p:spPr>
        <p:txBody>
          <a:bodyPr anchor="ctr">
            <a:noAutofit/>
          </a:bodyPr>
          <a:lstStyle/>
          <a:p>
            <a:r>
              <a:rPr lang="ru-RU" sz="4800" dirty="0"/>
              <a:t>и не всегда в людей</a:t>
            </a:r>
            <a:r>
              <a:rPr lang="en-US" sz="4800" dirty="0"/>
              <a:t> - </a:t>
            </a:r>
            <a:br>
              <a:rPr lang="en-US" sz="4800" dirty="0"/>
            </a:br>
            <a:r>
              <a:rPr lang="ru-RU" sz="4800" dirty="0">
                <a:solidFill>
                  <a:srgbClr val="787878"/>
                </a:solidFill>
              </a:rPr>
              <a:t>до </a:t>
            </a:r>
            <a:r>
              <a:rPr lang="ru-RU" sz="6000" dirty="0">
                <a:solidFill>
                  <a:srgbClr val="787878"/>
                </a:solidFill>
              </a:rPr>
              <a:t>2%</a:t>
            </a:r>
            <a:endParaRPr lang="ru-RU" sz="48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3429000"/>
            <a:ext cx="7206709" cy="309973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6000" b="1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ru-RU" sz="4800" dirty="0"/>
              <a:t>И не всегда сообщение видно – до </a:t>
            </a:r>
            <a:r>
              <a:rPr lang="ru-RU" dirty="0"/>
              <a:t>15% </a:t>
            </a:r>
          </a:p>
          <a:p>
            <a:r>
              <a:rPr lang="ru-RU" sz="2800" dirty="0"/>
              <a:t>показов могут быть вне </a:t>
            </a:r>
            <a:r>
              <a:rPr lang="en-US" sz="2800" dirty="0"/>
              <a:t>IAB-</a:t>
            </a:r>
            <a:r>
              <a:rPr lang="ru-RU" sz="2800" dirty="0" err="1"/>
              <a:t>бенчмарок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7329453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20" name="Picture 8" descr="https://s.yimg.com/uu/api/res/1.2/xJ41NrhVmOLwbwVOnX3GcQ--~B/aD0yMDAwO3c9MzAwMDtzbT0xO2FwcGlkPXl0YWNoeW9u/https:/media.zenfs.com/en/techcrunch_350/c84e9d8aab64edd95a2d4a2603c186d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72525"/>
            <a:ext cx="12192000" cy="81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892" y="360025"/>
            <a:ext cx="11957108" cy="835861"/>
          </a:xfrm>
        </p:spPr>
        <p:txBody>
          <a:bodyPr>
            <a:normAutofit fontScale="90000"/>
          </a:bodyPr>
          <a:lstStyle/>
          <a:p>
            <a:r>
              <a:rPr lang="ru-RU" sz="5400" dirty="0">
                <a:solidFill>
                  <a:schemeClr val="bg1"/>
                </a:solidFill>
              </a:rPr>
              <a:t>Одна сторона решения – </a:t>
            </a:r>
            <a:r>
              <a:rPr lang="en-US" sz="5400" dirty="0">
                <a:solidFill>
                  <a:schemeClr val="bg1"/>
                </a:solidFill>
              </a:rPr>
              <a:t>Data</a:t>
            </a:r>
            <a:r>
              <a:rPr lang="ru-RU" sz="5400" dirty="0">
                <a:solidFill>
                  <a:schemeClr val="bg1"/>
                </a:solidFill>
              </a:rPr>
              <a:t> </a:t>
            </a:r>
            <a:r>
              <a:rPr lang="en-US" sz="5400" dirty="0">
                <a:solidFill>
                  <a:schemeClr val="bg1"/>
                </a:solidFill>
              </a:rPr>
              <a:t>partnerships</a:t>
            </a:r>
            <a:endParaRPr lang="ru-RU" sz="540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7676859" y="2805330"/>
            <a:ext cx="1098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DMP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67500" y="4013200"/>
            <a:ext cx="2679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DP</a:t>
            </a:r>
            <a:endParaRPr lang="ru-RU" sz="32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638800" y="5245100"/>
            <a:ext cx="177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CRM</a:t>
            </a:r>
            <a:endParaRPr lang="ru-RU" sz="3200" b="1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347200" y="2070100"/>
            <a:ext cx="1790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OFD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13900" y="3441700"/>
            <a:ext cx="2209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Retailers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388600" y="5510937"/>
            <a:ext cx="228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anels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6146" name="Picture 2" descr="Weborama (Веборама)">
            <a:extLst>
              <a:ext uri="{FF2B5EF4-FFF2-40B4-BE49-F238E27FC236}">
                <a16:creationId xmlns:a16="http://schemas.microsoft.com/office/drawing/2014/main" id="{4754467E-D90E-4462-BD49-9B2826265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9319" y="2544362"/>
            <a:ext cx="1715081" cy="38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Энергетические системы и коммуникации (ЭСК) Первый ОФД">
            <a:extLst>
              <a:ext uri="{FF2B5EF4-FFF2-40B4-BE49-F238E27FC236}">
                <a16:creationId xmlns:a16="http://schemas.microsoft.com/office/drawing/2014/main" id="{02C7C82F-19CF-4B06-A411-24B6F816F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613" y="1779395"/>
            <a:ext cx="1485792" cy="647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id="{D999E96B-14C3-4650-9743-C8975844F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2948" y="3219952"/>
            <a:ext cx="1051304" cy="295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>
            <a:extLst>
              <a:ext uri="{FF2B5EF4-FFF2-40B4-BE49-F238E27FC236}">
                <a16:creationId xmlns:a16="http://schemas.microsoft.com/office/drawing/2014/main" id="{D557E96C-AD07-4A3E-8E9F-54FC617B3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5909" y="2969289"/>
            <a:ext cx="1167226" cy="18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Исследовательская компания Tiburon Research | Кейс видеонаблюдения">
            <a:extLst>
              <a:ext uri="{FF2B5EF4-FFF2-40B4-BE49-F238E27FC236}">
                <a16:creationId xmlns:a16="http://schemas.microsoft.com/office/drawing/2014/main" id="{D28C72D6-73A4-4AED-977C-A7B21DABE8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21" b="26355"/>
          <a:stretch/>
        </p:blipFill>
        <p:spPr bwMode="auto">
          <a:xfrm>
            <a:off x="10384698" y="5030845"/>
            <a:ext cx="1276874" cy="611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>
            <a:extLst>
              <a:ext uri="{FF2B5EF4-FFF2-40B4-BE49-F238E27FC236}">
                <a16:creationId xmlns:a16="http://schemas.microsoft.com/office/drawing/2014/main" id="{48E0BFA8-C75F-4F78-8A00-44C8A1A217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706" y="3914247"/>
            <a:ext cx="874217" cy="590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Внедрение CRM - Система управления продажами">
            <a:extLst>
              <a:ext uri="{FF2B5EF4-FFF2-40B4-BE49-F238E27FC236}">
                <a16:creationId xmlns:a16="http://schemas.microsoft.com/office/drawing/2014/main" id="{4BD02FC8-D644-4CCA-AEAD-211B19C8F6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1923" y="5128272"/>
            <a:ext cx="744082" cy="74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41148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7" descr="Изображение выглядит как внешний, дерево, человек, растение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A21BC924-2648-4130-AC74-F8704C0C58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731" t="-140" r="26439" b="-144"/>
          <a:stretch/>
        </p:blipFill>
        <p:spPr>
          <a:xfrm>
            <a:off x="-336429" y="-1287"/>
            <a:ext cx="7167162" cy="6860786"/>
          </a:xfrm>
          <a:prstGeom prst="rect">
            <a:avLst/>
          </a:prstGeom>
        </p:spPr>
      </p:pic>
      <p:pic>
        <p:nvPicPr>
          <p:cNvPr id="9" name="Рисунок 9" descr="Изображение выглядит как дерево, внешний, растение, лес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E2D4B663-0387-4F34-A9AE-78936BB3F6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897" r="17839" b="258"/>
          <a:stretch/>
        </p:blipFill>
        <p:spPr>
          <a:xfrm>
            <a:off x="6090250" y="-1437"/>
            <a:ext cx="6410522" cy="686090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5618" y="5233358"/>
            <a:ext cx="10942212" cy="1179049"/>
          </a:xfrm>
        </p:spPr>
        <p:txBody>
          <a:bodyPr>
            <a:normAutofit fontScale="90000"/>
          </a:bodyPr>
          <a:lstStyle/>
          <a:p>
            <a:r>
              <a:rPr lang="ru-RU" sz="5400" dirty="0">
                <a:solidFill>
                  <a:schemeClr val="bg1"/>
                </a:solidFill>
                <a:latin typeface="Myriad Pro"/>
              </a:rPr>
              <a:t>Но и здесь нет полной информации </a:t>
            </a:r>
            <a:endParaRPr lang="ru-RU" sz="5400" dirty="0">
              <a:solidFill>
                <a:schemeClr val="tx2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05AF762D-7E08-45F4-B998-45D09ACE9D34}"/>
              </a:ext>
            </a:extLst>
          </p:cNvPr>
          <p:cNvSpPr txBox="1">
            <a:spLocks/>
          </p:cNvSpPr>
          <p:nvPr/>
        </p:nvSpPr>
        <p:spPr>
          <a:xfrm>
            <a:off x="4366405" y="2251493"/>
            <a:ext cx="6288657" cy="117904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 pitchFamily="34" charset="0"/>
                <a:ea typeface="+mj-ea"/>
                <a:cs typeface="+mj-cs"/>
              </a:defRPr>
            </a:lvl1pPr>
          </a:lstStyle>
          <a:p>
            <a:r>
              <a:rPr lang="ru-RU" sz="4000" dirty="0" err="1">
                <a:solidFill>
                  <a:schemeClr val="bg1"/>
                </a:solidFill>
                <a:latin typeface="Myriad Pro"/>
              </a:rPr>
              <a:t>Reach</a:t>
            </a:r>
            <a:r>
              <a:rPr lang="ru-RU" sz="4000" dirty="0">
                <a:solidFill>
                  <a:schemeClr val="bg1"/>
                </a:solidFill>
                <a:latin typeface="Myriad Pro"/>
              </a:rPr>
              <a:t> &amp; </a:t>
            </a:r>
            <a:r>
              <a:rPr lang="ru-RU" sz="4000" dirty="0" err="1">
                <a:solidFill>
                  <a:schemeClr val="bg1"/>
                </a:solidFill>
                <a:latin typeface="Myriad Pro"/>
              </a:rPr>
              <a:t>Frequency</a:t>
            </a:r>
            <a:endParaRPr lang="ru-RU" sz="40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6458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5">
            <a:extLst>
              <a:ext uri="{FF2B5EF4-FFF2-40B4-BE49-F238E27FC236}">
                <a16:creationId xmlns:a16="http://schemas.microsoft.com/office/drawing/2014/main" id="{684E7F55-61D9-4064-A0E2-E715E5F04B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6581" y="-1256270"/>
            <a:ext cx="13612482" cy="868042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534536"/>
            <a:ext cx="10515600" cy="1179049"/>
          </a:xfrm>
        </p:spPr>
        <p:txBody>
          <a:bodyPr>
            <a:noAutofit/>
          </a:bodyPr>
          <a:lstStyle/>
          <a:p>
            <a:r>
              <a:rPr lang="ru-RU" sz="4800" dirty="0">
                <a:solidFill>
                  <a:srgbClr val="787878"/>
                </a:solidFill>
                <a:latin typeface="Myriad Pro"/>
              </a:rPr>
              <a:t>Мы понимаем, что наша линейка не идеальна</a:t>
            </a:r>
          </a:p>
        </p:txBody>
      </p:sp>
      <p:pic>
        <p:nvPicPr>
          <p:cNvPr id="7170" name="Picture 2" descr="https://ict2go.ru/uploads/media/participants_lid_image/0001/07/thumb_6547_participants_lid_image_bi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0058" y="2603500"/>
            <a:ext cx="1381207" cy="155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s://yt3.ggpht.com/a/AGF-l7_n9BamSDOWrc8R7aiw8SWXxjytbBdI_CTBOw=s900-c-k-c0xffffffff-no-rj-mo"/>
          <p:cNvPicPr>
            <a:picLocks noChangeAspect="1" noChangeArrowheads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" t="23078" r="1922" b="23931"/>
          <a:stretch/>
        </p:blipFill>
        <p:spPr bwMode="auto">
          <a:xfrm>
            <a:off x="5311045" y="4159692"/>
            <a:ext cx="2685025" cy="147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s://www.esomarfoundation.org/wp-content/uploads/2016/10/omi_logo_final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3922" y="2132888"/>
            <a:ext cx="1724025" cy="1436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gmchicago.files.wordpress.com/2012/06/nielsen-color-logo1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335" y="5163179"/>
            <a:ext cx="3124200" cy="1101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https://research-me.com/i/img/logo--mai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9036" y="3721664"/>
            <a:ext cx="4157330" cy="743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0" name="Picture 12" descr="https://www.bst77.ru/upload/iblock/993/993eaedbded65c357cc30cbcb3fc54e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7701" y="2458485"/>
            <a:ext cx="862911" cy="78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s.yimg.com/uu/api/res/1.2/RCYz6ei9F0HrwkndmS8xqQ--~B/aD05NDg7dz0zMzAwO3NtPTE7YXBwaWQ9eXRhY2h5b24-/http:/globalfinance.zenfs.com/images/US_AFTP_MarketWire_XHTML/moat_logo_bitmap-937453747552_original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56" y="4562820"/>
            <a:ext cx="1480720" cy="425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47391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Нужна объективная картина мира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160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BE88956-A16B-4415-A085-349DBC015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6AD5F6-4B01-4461-AAC3-6B1332B04485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Myriad Pro" panose="020B0503030403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Myriad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B438F2-801D-4152-89B6-727BDC754DFE}"/>
              </a:ext>
            </a:extLst>
          </p:cNvPr>
          <p:cNvSpPr txBox="1"/>
          <p:nvPr/>
        </p:nvSpPr>
        <p:spPr>
          <a:xfrm>
            <a:off x="878780" y="5387449"/>
            <a:ext cx="211609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yriad Pro Cond"/>
                <a:ea typeface="+mn-ea"/>
                <a:cs typeface="+mn-cs"/>
              </a:rPr>
              <a:t>Комплексная линейка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6852D6E-092E-4B74-B7FE-08AA9E5F9F47}"/>
              </a:ext>
            </a:extLst>
          </p:cNvPr>
          <p:cNvSpPr txBox="1"/>
          <p:nvPr/>
        </p:nvSpPr>
        <p:spPr>
          <a:xfrm>
            <a:off x="4531893" y="4002454"/>
            <a:ext cx="2743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yriad Pro Cond"/>
                <a:ea typeface="+mn-ea"/>
                <a:cs typeface="+mn-cs"/>
              </a:rPr>
              <a:t>Равная интеграция всех игроков рынк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1D3806-D2B9-4C08-8164-6D485A5D7434}"/>
              </a:ext>
            </a:extLst>
          </p:cNvPr>
          <p:cNvSpPr txBox="1"/>
          <p:nvPr/>
        </p:nvSpPr>
        <p:spPr>
          <a:xfrm>
            <a:off x="8487213" y="4480824"/>
            <a:ext cx="35573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8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Myriad Pro Cond"/>
                <a:ea typeface="+mj-ea"/>
                <a:cs typeface="+mj-cs"/>
              </a:rPr>
              <a:t>Возможность обогатить и оценить аудиторные данные</a:t>
            </a:r>
          </a:p>
        </p:txBody>
      </p:sp>
      <p:pic>
        <p:nvPicPr>
          <p:cNvPr id="12298" name="Picture 10" descr="Rubik's cube blue vector icon | Rubiks cube, Cube">
            <a:extLst>
              <a:ext uri="{FF2B5EF4-FFF2-40B4-BE49-F238E27FC236}">
                <a16:creationId xmlns:a16="http://schemas.microsoft.com/office/drawing/2014/main" id="{D1D845B7-5609-4655-AE39-6D333FC86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2952" y="2874953"/>
            <a:ext cx="1545855" cy="1597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https://cdn.steemitimages.com/DQmW6Wr6o3GRNR2n3x3ns85r1kba2tuT1GjpT7vrU4yutgk/logo-youtube-nouveau-design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07" t="31876" r="4244" b="32403"/>
          <a:stretch/>
        </p:blipFill>
        <p:spPr bwMode="auto">
          <a:xfrm>
            <a:off x="4612323" y="1987230"/>
            <a:ext cx="1760517" cy="51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s://avatars.mds.yandex.net/get-pdb/2506600/8b9fccc6-3f78-4f61-99a6-1d9a30ac8f2c/s1200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1" t="32620" r="23593" b="34140"/>
          <a:stretch/>
        </p:blipFill>
        <p:spPr bwMode="auto">
          <a:xfrm>
            <a:off x="6157493" y="3170293"/>
            <a:ext cx="1205029" cy="552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s://sunmarsol.ru/wp-content/uploads/2019/12/facebook-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593" y="2796083"/>
            <a:ext cx="1806337" cy="679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s://selfiemagazine.ru/wp-content/uploads/2016/04/instagram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599" y="3127120"/>
            <a:ext cx="1332983" cy="86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s://belnaviny.by/wp-content/uploads/2018/12/belnaviny.by-v-uxodyashhem-godu-vkontakte-vyplatila-razrabotchikam-igr-2-mlrd-rublej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771" y="2064904"/>
            <a:ext cx="683751" cy="54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https://static.tildacdn.com/tild3130-3731-4231-b132-353530376636/logomailru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902" y="2624036"/>
            <a:ext cx="1727956" cy="442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https://avatars.mds.yandex.net/get-zen_doc/248942/pub_5ce02e7eb3217a00b3886049_5ce0374fea066d00c401c70f/scale_1200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842793">
            <a:off x="207590" y="2796083"/>
            <a:ext cx="3287098" cy="2191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583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485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110" y="-68579"/>
            <a:ext cx="10515600" cy="1179049"/>
          </a:xfrm>
        </p:spPr>
        <p:txBody>
          <a:bodyPr/>
          <a:lstStyle/>
          <a:p>
            <a:r>
              <a:rPr lang="en-US" dirty="0"/>
              <a:t>PepsiCo </a:t>
            </a:r>
            <a:r>
              <a:rPr lang="ru-RU" dirty="0"/>
              <a:t>Россия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6AD5F6-4B01-4461-AAC3-6B1332B0448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499111" y="1168815"/>
            <a:ext cx="11083289" cy="947737"/>
          </a:xfrm>
        </p:spPr>
        <p:txBody>
          <a:bodyPr>
            <a:noAutofit/>
          </a:bodyPr>
          <a:lstStyle/>
          <a:p>
            <a:pPr marL="0" indent="0">
              <a:buClrTx/>
              <a:buNone/>
            </a:pPr>
            <a: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epsiCo </a:t>
            </a:r>
            <a:r>
              <a:rPr lang="ru-RU" alt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Россия является крупнейшим производителем продуктов питания и напитков в России</a:t>
            </a:r>
            <a:r>
              <a:rPr lang="en-US" alt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</a:p>
        </p:txBody>
      </p:sp>
      <p:grpSp>
        <p:nvGrpSpPr>
          <p:cNvPr id="57" name="Group 74"/>
          <p:cNvGrpSpPr>
            <a:grpSpLocks/>
          </p:cNvGrpSpPr>
          <p:nvPr/>
        </p:nvGrpSpPr>
        <p:grpSpPr bwMode="auto">
          <a:xfrm>
            <a:off x="1473373" y="4770596"/>
            <a:ext cx="792455" cy="351670"/>
            <a:chOff x="3664912" y="2521912"/>
            <a:chExt cx="2154334" cy="963781"/>
          </a:xfrm>
        </p:grpSpPr>
        <p:sp>
          <p:nvSpPr>
            <p:cNvPr id="58" name="Rounded Rectangle 57"/>
            <p:cNvSpPr/>
            <p:nvPr/>
          </p:nvSpPr>
          <p:spPr>
            <a:xfrm>
              <a:off x="3777656" y="2634761"/>
              <a:ext cx="2041590" cy="850932"/>
            </a:xfrm>
            <a:prstGeom prst="roundRect">
              <a:avLst>
                <a:gd name="adj" fmla="val 4361"/>
              </a:avLst>
            </a:prstGeom>
            <a:solidFill>
              <a:srgbClr val="C1CBE0">
                <a:alpha val="4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>
                <a:solidFill>
                  <a:srgbClr val="FFFFFF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>
              <a:off x="3664912" y="2521912"/>
              <a:ext cx="2041590" cy="850934"/>
            </a:xfrm>
            <a:prstGeom prst="roundRect">
              <a:avLst>
                <a:gd name="adj" fmla="val 4361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>
                <a:solidFill>
                  <a:srgbClr val="FFFFFF"/>
                </a:solidFill>
                <a:latin typeface="Myriad Pro" panose="020B0503030403020204" pitchFamily="34" charset="0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4377945" y="2640861"/>
              <a:ext cx="612476" cy="6130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 dirty="0">
                <a:solidFill>
                  <a:srgbClr val="FFFFFF"/>
                </a:solidFill>
                <a:latin typeface="Myriad Pro" panose="020B0503030403020204" pitchFamily="34" charset="0"/>
              </a:endParaRPr>
            </a:p>
          </p:txBody>
        </p:sp>
      </p:grpSp>
      <p:pic>
        <p:nvPicPr>
          <p:cNvPr id="97" name="Picture 82"/>
          <p:cNvPicPr>
            <a:picLocks noChangeAspect="1"/>
          </p:cNvPicPr>
          <p:nvPr/>
        </p:nvPicPr>
        <p:blipFill>
          <a:blip r:embed="rId7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96906" y="4656952"/>
            <a:ext cx="558382" cy="57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" name="Picture 87"/>
          <p:cNvPicPr>
            <a:picLocks noChangeAspect="1"/>
          </p:cNvPicPr>
          <p:nvPr/>
        </p:nvPicPr>
        <p:blipFill>
          <a:blip r:embed="rId8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195204" y="4673916"/>
            <a:ext cx="617088" cy="545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1" name="Picture 88"/>
          <p:cNvPicPr>
            <a:picLocks noChangeAspect="1"/>
          </p:cNvPicPr>
          <p:nvPr/>
        </p:nvPicPr>
        <p:blipFill>
          <a:blip r:embed="rId9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954904" y="4609235"/>
            <a:ext cx="731837" cy="674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31"/>
          <p:cNvSpPr>
            <a:spLocks noChangeArrowheads="1"/>
          </p:cNvSpPr>
          <p:nvPr/>
        </p:nvSpPr>
        <p:spPr bwMode="auto">
          <a:xfrm>
            <a:off x="2836166" y="1868977"/>
            <a:ext cx="2052000" cy="39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СОКИ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29" name="Rectangle 32"/>
          <p:cNvSpPr>
            <a:spLocks noChangeArrowheads="1"/>
          </p:cNvSpPr>
          <p:nvPr/>
        </p:nvSpPr>
        <p:spPr bwMode="auto">
          <a:xfrm>
            <a:off x="5062732" y="1858530"/>
            <a:ext cx="2052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СНЕКИ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0" name="Rectangle 30"/>
          <p:cNvSpPr>
            <a:spLocks noChangeArrowheads="1"/>
          </p:cNvSpPr>
          <p:nvPr/>
        </p:nvSpPr>
        <p:spPr bwMode="auto">
          <a:xfrm>
            <a:off x="609599" y="1868977"/>
            <a:ext cx="2139283" cy="39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НАПИТКИ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2" name="Rectangle 30"/>
          <p:cNvSpPr>
            <a:spLocks noChangeArrowheads="1"/>
          </p:cNvSpPr>
          <p:nvPr/>
        </p:nvSpPr>
        <p:spPr bwMode="auto">
          <a:xfrm>
            <a:off x="609600" y="4276033"/>
            <a:ext cx="252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РЕЗУЛЬТАТЫ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3" name="Rectangle 30"/>
          <p:cNvSpPr>
            <a:spLocks noChangeArrowheads="1"/>
          </p:cNvSpPr>
          <p:nvPr/>
        </p:nvSpPr>
        <p:spPr bwMode="auto">
          <a:xfrm>
            <a:off x="3426674" y="4276033"/>
            <a:ext cx="252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БРЕНДЫ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4" name="Rectangle 30"/>
          <p:cNvSpPr>
            <a:spLocks noChangeArrowheads="1"/>
          </p:cNvSpPr>
          <p:nvPr/>
        </p:nvSpPr>
        <p:spPr bwMode="auto">
          <a:xfrm>
            <a:off x="6243748" y="4276033"/>
            <a:ext cx="252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МАСШТАБ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5" name="Rectangle 30"/>
          <p:cNvSpPr>
            <a:spLocks noChangeArrowheads="1"/>
          </p:cNvSpPr>
          <p:nvPr/>
        </p:nvSpPr>
        <p:spPr bwMode="auto">
          <a:xfrm>
            <a:off x="9060822" y="4276033"/>
            <a:ext cx="2520000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СОТРУДНИКИ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sp>
        <p:nvSpPr>
          <p:cNvPr id="36" name="Content Placeholder 6"/>
          <p:cNvSpPr txBox="1">
            <a:spLocks/>
          </p:cNvSpPr>
          <p:nvPr/>
        </p:nvSpPr>
        <p:spPr>
          <a:xfrm>
            <a:off x="3877112" y="5310121"/>
            <a:ext cx="1619123" cy="860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33413" indent="-176213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Tahoma" panose="020B0604030504040204" pitchFamily="34" charset="0"/>
              <a:buChar char="̶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b="1" kern="0" dirty="0">
                <a:solidFill>
                  <a:srgbClr val="0070C0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10 </a:t>
            </a:r>
            <a:br>
              <a:rPr lang="en-US" sz="1800" b="1" kern="0" dirty="0">
                <a:solidFill>
                  <a:srgbClr val="0070C0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800" kern="0" dirty="0">
                <a:solidFill>
                  <a:srgbClr val="7F7F7F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сильнейших брендов</a:t>
            </a:r>
            <a:endParaRPr lang="en-US" sz="1800" kern="0" dirty="0">
              <a:solidFill>
                <a:srgbClr val="7F7F7F"/>
              </a:solidFill>
              <a:latin typeface="Myriad Pro" panose="020B0503030403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0" name="Content Placeholder 6"/>
          <p:cNvSpPr txBox="1">
            <a:spLocks/>
          </p:cNvSpPr>
          <p:nvPr/>
        </p:nvSpPr>
        <p:spPr>
          <a:xfrm>
            <a:off x="609600" y="5310121"/>
            <a:ext cx="2520000" cy="8609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33413" indent="-176213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Tahoma" panose="020B0604030504040204" pitchFamily="34" charset="0"/>
              <a:buChar char="̶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$</a:t>
            </a:r>
            <a:r>
              <a:rPr lang="ru-RU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3</a:t>
            </a:r>
            <a:r>
              <a:rPr lang="en-US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,</a:t>
            </a:r>
            <a:r>
              <a:rPr lang="ru-RU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2</a:t>
            </a:r>
            <a:r>
              <a:rPr lang="en-US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 </a:t>
            </a:r>
            <a:r>
              <a:rPr lang="ru-RU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млрд</a:t>
            </a:r>
            <a:r>
              <a:rPr lang="en-US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**</a:t>
            </a:r>
            <a:br>
              <a:rPr lang="en-US" sz="1800" kern="0" dirty="0"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1800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 </a:t>
            </a:r>
            <a:r>
              <a:rPr lang="ru-RU" sz="18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чистая выручка</a:t>
            </a:r>
            <a:br>
              <a:rPr lang="en-US" sz="1800" kern="0" dirty="0"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800" kern="0" dirty="0">
                <a:solidFill>
                  <a:srgbClr val="7F7F7F"/>
                </a:solidFill>
                <a:latin typeface="Myriad Pro"/>
                <a:ea typeface="Arial Unicode MS"/>
                <a:cs typeface="Arial Unicode MS"/>
              </a:rPr>
              <a:t>в</a:t>
            </a:r>
            <a:r>
              <a:rPr lang="en-US" sz="1800" kern="0" dirty="0">
                <a:solidFill>
                  <a:srgbClr val="7F7F7F"/>
                </a:solidFill>
                <a:latin typeface="Myriad Pro"/>
                <a:ea typeface="Arial Unicode MS"/>
                <a:cs typeface="Arial Unicode MS"/>
              </a:rPr>
              <a:t> 2018</a:t>
            </a:r>
            <a:r>
              <a:rPr lang="en-US" sz="1800" dirty="0">
                <a:solidFill>
                  <a:srgbClr val="7F7F7F"/>
                </a:solidFill>
                <a:latin typeface="Myriad Pro"/>
                <a:cs typeface="Arial"/>
              </a:rPr>
              <a:t> </a:t>
            </a:r>
            <a:r>
              <a:rPr lang="ru-RU" sz="1800" dirty="0">
                <a:solidFill>
                  <a:srgbClr val="7F7F7F"/>
                </a:solidFill>
                <a:latin typeface="Myriad Pro"/>
                <a:cs typeface="Arial"/>
              </a:rPr>
              <a:t>году</a:t>
            </a:r>
            <a:r>
              <a:rPr lang="en-US" sz="1800" dirty="0">
                <a:solidFill>
                  <a:srgbClr val="7F7F7F"/>
                </a:solidFill>
                <a:latin typeface="Myriad Pro"/>
                <a:cs typeface="Arial"/>
              </a:rPr>
              <a:t> </a:t>
            </a:r>
          </a:p>
        </p:txBody>
      </p:sp>
      <p:sp>
        <p:nvSpPr>
          <p:cNvPr id="43" name="Content Placeholder 6"/>
          <p:cNvSpPr txBox="1">
            <a:spLocks/>
          </p:cNvSpPr>
          <p:nvPr/>
        </p:nvSpPr>
        <p:spPr>
          <a:xfrm>
            <a:off x="9427691" y="5310121"/>
            <a:ext cx="1786262" cy="8609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33413" indent="-176213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Tahoma" panose="020B0604030504040204" pitchFamily="34" charset="0"/>
              <a:buChar char="̶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800" kern="0" dirty="0">
                <a:solidFill>
                  <a:srgbClr val="7F7F7F"/>
                </a:solidFill>
                <a:latin typeface="Myriad Pro"/>
                <a:ea typeface="Arial Unicode MS"/>
                <a:cs typeface="Arial Unicode MS"/>
              </a:rPr>
              <a:t>более</a:t>
            </a:r>
            <a:br>
              <a:rPr lang="en-US" sz="1800" kern="0" dirty="0"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19</a:t>
            </a:r>
            <a:r>
              <a:rPr lang="en-US" sz="1800" b="1" kern="0" dirty="0">
                <a:solidFill>
                  <a:srgbClr val="0070C0"/>
                </a:solidFill>
                <a:latin typeface="Myriad Pro"/>
                <a:ea typeface="Arial Unicode MS"/>
                <a:cs typeface="Arial Unicode MS"/>
              </a:rPr>
              <a:t>,000</a:t>
            </a:r>
            <a:br>
              <a:rPr lang="en-US" sz="1800" b="1" kern="0" dirty="0"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800" kern="0" dirty="0">
                <a:solidFill>
                  <a:srgbClr val="7F7F7F"/>
                </a:solidFill>
                <a:latin typeface="Myriad Pro"/>
                <a:ea typeface="Arial Unicode MS"/>
                <a:cs typeface="Arial Unicode MS"/>
              </a:rPr>
              <a:t>сотрудников</a:t>
            </a:r>
            <a:endParaRPr lang="en-US" sz="1800" kern="0" dirty="0">
              <a:solidFill>
                <a:srgbClr val="7F7F7F"/>
              </a:solidFill>
              <a:latin typeface="Myriad Pro"/>
              <a:ea typeface="Arial Unicode MS"/>
              <a:cs typeface="Arial Unicode MS"/>
            </a:endParaRPr>
          </a:p>
        </p:txBody>
      </p:sp>
      <p:sp>
        <p:nvSpPr>
          <p:cNvPr id="44" name="Content Placeholder 6"/>
          <p:cNvSpPr txBox="1">
            <a:spLocks/>
          </p:cNvSpPr>
          <p:nvPr/>
        </p:nvSpPr>
        <p:spPr>
          <a:xfrm>
            <a:off x="6626246" y="5310121"/>
            <a:ext cx="1755004" cy="8609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633413" indent="-176213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rgbClr val="0070C0"/>
              </a:buClr>
              <a:buFont typeface="Tahoma" panose="020B0604030504040204" pitchFamily="34" charset="0"/>
              <a:buChar char="̶"/>
              <a:defRPr sz="20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085850" indent="-17145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b="1" kern="0" dirty="0">
                <a:solidFill>
                  <a:srgbClr val="0070C0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&gt;20 </a:t>
            </a:r>
            <a:br>
              <a:rPr lang="en-US" sz="1800" b="1" kern="0" dirty="0">
                <a:solidFill>
                  <a:srgbClr val="0070C0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ru-RU" sz="1800" kern="0" dirty="0">
                <a:solidFill>
                  <a:srgbClr val="7F7F7F"/>
                </a:solidFill>
                <a:latin typeface="Myriad Pro" panose="020B0503030403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rPr>
              <a:t>заводов по всей стране</a:t>
            </a:r>
            <a:endParaRPr lang="en-US" sz="1800" kern="0" dirty="0">
              <a:solidFill>
                <a:srgbClr val="7F7F7F"/>
              </a:solidFill>
              <a:latin typeface="Myriad Pro" panose="020B0503030403020204" pitchFamily="34" charset="0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2748883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3" name="Straight Connector 52"/>
          <p:cNvCxnSpPr/>
          <p:nvPr/>
        </p:nvCxnSpPr>
        <p:spPr bwMode="auto">
          <a:xfrm>
            <a:off x="7202015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Straight Connector 53"/>
          <p:cNvCxnSpPr/>
          <p:nvPr/>
        </p:nvCxnSpPr>
        <p:spPr bwMode="auto">
          <a:xfrm>
            <a:off x="3272652" y="4395043"/>
            <a:ext cx="0" cy="1916028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1" name="Straight Connector 60"/>
          <p:cNvCxnSpPr/>
          <p:nvPr/>
        </p:nvCxnSpPr>
        <p:spPr bwMode="auto">
          <a:xfrm>
            <a:off x="6096000" y="4395043"/>
            <a:ext cx="0" cy="1916028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2" name="Straight Connector 61"/>
          <p:cNvCxnSpPr/>
          <p:nvPr/>
        </p:nvCxnSpPr>
        <p:spPr bwMode="auto">
          <a:xfrm>
            <a:off x="8912285" y="4395043"/>
            <a:ext cx="0" cy="1916028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Rectangle 32"/>
          <p:cNvSpPr>
            <a:spLocks noChangeArrowheads="1"/>
          </p:cNvSpPr>
          <p:nvPr/>
        </p:nvSpPr>
        <p:spPr bwMode="auto">
          <a:xfrm>
            <a:off x="7289298" y="1858530"/>
            <a:ext cx="2052000" cy="683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ДЕТСКОЕ ПИТАНИЕ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cxnSp>
        <p:nvCxnSpPr>
          <p:cNvPr id="68" name="Straight Connector 67"/>
          <p:cNvCxnSpPr/>
          <p:nvPr/>
        </p:nvCxnSpPr>
        <p:spPr bwMode="auto">
          <a:xfrm>
            <a:off x="4975449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601955" y="6553200"/>
            <a:ext cx="10965908" cy="2462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ru-RU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Источник</a:t>
            </a:r>
            <a:r>
              <a:rPr lang="en-US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: * RAEX-600-2018</a:t>
            </a:r>
            <a:r>
              <a:rPr lang="ru-RU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 рейтинг крупнейших компаний по обороту продаж рейтингового агентства </a:t>
            </a:r>
            <a:r>
              <a:rPr lang="en-US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“</a:t>
            </a:r>
            <a:r>
              <a:rPr lang="ru-RU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Эксперт РА</a:t>
            </a:r>
            <a:r>
              <a:rPr lang="en-US" sz="1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/>
                <a:ea typeface="Arial Unicode MS"/>
                <a:cs typeface="Arial Unicode MS"/>
              </a:rPr>
              <a:t>”;  ** PepsiCo 2018 10-K</a:t>
            </a:r>
            <a:endParaRPr lang="ru-RU" sz="1000" kern="0" dirty="0">
              <a:solidFill>
                <a:schemeClr val="tx1">
                  <a:lumMod val="50000"/>
                  <a:lumOff val="50000"/>
                </a:schemeClr>
              </a:solidFill>
              <a:latin typeface="Myriad Pro"/>
              <a:ea typeface="Arial Unicode MS"/>
              <a:cs typeface="Arial Unicode MS"/>
            </a:endParaRPr>
          </a:p>
        </p:txBody>
      </p:sp>
      <p:sp>
        <p:nvSpPr>
          <p:cNvPr id="45" name="Rectangle 32"/>
          <p:cNvSpPr>
            <a:spLocks noChangeArrowheads="1"/>
          </p:cNvSpPr>
          <p:nvPr/>
        </p:nvSpPr>
        <p:spPr bwMode="auto">
          <a:xfrm>
            <a:off x="9515863" y="1858530"/>
            <a:ext cx="2052000" cy="683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ru-RU" altLang="en-US" sz="2400" b="1" dirty="0">
                <a:solidFill>
                  <a:srgbClr val="0070C0"/>
                </a:solidFill>
                <a:latin typeface="+mj-lt"/>
                <a:ea typeface="Arial Unicode MS" panose="020B0604020202020204" pitchFamily="34" charset="-128"/>
              </a:rPr>
              <a:t>МОЛОЧНЫЕ ПРОДУКТЫ</a:t>
            </a:r>
            <a:endParaRPr lang="en-US" altLang="en-US" sz="2400" b="1" dirty="0">
              <a:solidFill>
                <a:srgbClr val="0070C0"/>
              </a:solidFill>
              <a:latin typeface="+mj-lt"/>
              <a:ea typeface="Arial Unicode MS" panose="020B0604020202020204" pitchFamily="34" charset="-128"/>
            </a:endParaRPr>
          </a:p>
        </p:txBody>
      </p:sp>
      <p:cxnSp>
        <p:nvCxnSpPr>
          <p:cNvPr id="46" name="Straight Connector 45"/>
          <p:cNvCxnSpPr/>
          <p:nvPr/>
        </p:nvCxnSpPr>
        <p:spPr bwMode="auto">
          <a:xfrm>
            <a:off x="9428580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7" name="Picture 66" descr="A picture containing fruit&#10;&#10;Description generated with high confidence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96865" y="2432377"/>
            <a:ext cx="588072" cy="1604973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199" y="2489937"/>
            <a:ext cx="685801" cy="1523327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9392" y="2703458"/>
            <a:ext cx="832048" cy="1457604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178" y="2684690"/>
            <a:ext cx="419762" cy="1344459"/>
          </a:xfrm>
          <a:prstGeom prst="rect">
            <a:avLst/>
          </a:prstGeom>
        </p:spPr>
      </p:pic>
      <p:cxnSp>
        <p:nvCxnSpPr>
          <p:cNvPr id="76" name="Straight Connector 75"/>
          <p:cNvCxnSpPr/>
          <p:nvPr/>
        </p:nvCxnSpPr>
        <p:spPr bwMode="auto">
          <a:xfrm>
            <a:off x="609600" y="4191605"/>
            <a:ext cx="10972800" cy="0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7" name="Straight Connector 76"/>
          <p:cNvCxnSpPr/>
          <p:nvPr/>
        </p:nvCxnSpPr>
        <p:spPr bwMode="auto">
          <a:xfrm>
            <a:off x="2748883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Straight Connector 79"/>
          <p:cNvCxnSpPr/>
          <p:nvPr/>
        </p:nvCxnSpPr>
        <p:spPr bwMode="auto">
          <a:xfrm>
            <a:off x="7202015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1" name="Straight Connector 80"/>
          <p:cNvCxnSpPr/>
          <p:nvPr/>
        </p:nvCxnSpPr>
        <p:spPr bwMode="auto">
          <a:xfrm>
            <a:off x="4975449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Straight Connector 81"/>
          <p:cNvCxnSpPr/>
          <p:nvPr/>
        </p:nvCxnSpPr>
        <p:spPr bwMode="auto">
          <a:xfrm>
            <a:off x="9428580" y="2171161"/>
            <a:ext cx="0" cy="1880426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1" name="Picture 9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8692" y="2829332"/>
            <a:ext cx="522430" cy="1044860"/>
          </a:xfrm>
          <a:prstGeom prst="rect">
            <a:avLst/>
          </a:prstGeom>
        </p:spPr>
      </p:pic>
      <p:pic>
        <p:nvPicPr>
          <p:cNvPr id="92" name="Picture 9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0906" y="2807588"/>
            <a:ext cx="390279" cy="1219621"/>
          </a:xfrm>
          <a:prstGeom prst="rect">
            <a:avLst/>
          </a:prstGeom>
        </p:spPr>
      </p:pic>
      <p:pic>
        <p:nvPicPr>
          <p:cNvPr id="93" name="Picture 9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11" y="3126549"/>
            <a:ext cx="383146" cy="924417"/>
          </a:xfrm>
          <a:prstGeom prst="rect">
            <a:avLst/>
          </a:prstGeom>
        </p:spPr>
      </p:pic>
      <p:cxnSp>
        <p:nvCxnSpPr>
          <p:cNvPr id="94" name="Straight Connector 93"/>
          <p:cNvCxnSpPr/>
          <p:nvPr/>
        </p:nvCxnSpPr>
        <p:spPr bwMode="auto">
          <a:xfrm>
            <a:off x="609600" y="4191605"/>
            <a:ext cx="10972800" cy="0"/>
          </a:xfrm>
          <a:prstGeom prst="line">
            <a:avLst/>
          </a:prstGeom>
          <a:solidFill>
            <a:schemeClr val="accent1"/>
          </a:solidFill>
          <a:ln w="25400" cap="rnd" cmpd="sng" algn="ctr">
            <a:solidFill>
              <a:schemeClr val="tx1">
                <a:lumMod val="50000"/>
                <a:lumOff val="50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5" name="Picture 47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0" b="100000" l="7036" r="97924">
                        <a14:foregroundMark x1="38293" y1="31400" x2="38293" y2="31400"/>
                        <a14:foregroundMark x1="38293" y1="28300" x2="38293" y2="28300"/>
                        <a14:foregroundMark x1="45329" y1="29500" x2="45329" y2="29500"/>
                        <a14:foregroundMark x1="43253" y1="29800" x2="43253" y2="29800"/>
                        <a14:foregroundMark x1="41869" y1="32600" x2="63437" y2="28600"/>
                        <a14:foregroundMark x1="63437" y1="31700" x2="63437" y2="31700"/>
                        <a14:foregroundMark x1="37255" y1="35100" x2="37255" y2="35100"/>
                        <a14:foregroundMark x1="34717" y1="50800" x2="69204" y2="56300"/>
                        <a14:foregroundMark x1="56747" y1="36000" x2="56747" y2="36000"/>
                        <a14:foregroundMark x1="46482" y1="36900" x2="46482" y2="36900"/>
                        <a14:foregroundMark x1="62053" y1="26100" x2="62053" y2="26100"/>
                        <a14:foregroundMark x1="66321" y1="34000" x2="66321" y2="34000"/>
                        <a14:foregroundMark x1="62630" y1="36600" x2="60092" y2="36500"/>
                        <a14:foregroundMark x1="64821" y1="35600" x2="67243" y2="34000"/>
                        <a14:foregroundMark x1="66436" y1="30500" x2="66321" y2="28300"/>
                        <a14:foregroundMark x1="34256" y1="38200" x2="35063" y2="28100"/>
                        <a14:foregroundMark x1="40369" y1="24300" x2="54325" y2="26500"/>
                        <a14:foregroundMark x1="59977" y1="32200" x2="61707" y2="327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75314" y="2856923"/>
            <a:ext cx="901685" cy="1149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6" name="Picture 95"/>
          <p:cNvPicPr>
            <a:picLocks noChangeAspect="1"/>
          </p:cNvPicPr>
          <p:nvPr/>
        </p:nvPicPr>
        <p:blipFill>
          <a:blip r:embed="rId19" cstate="screen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3089" b="97225" l="10000" r="90000">
                        <a14:foregroundMark x1="52900" y1="41092" x2="52900" y2="410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56" y="2713718"/>
            <a:ext cx="598589" cy="1337248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6884" y="2704083"/>
            <a:ext cx="416916" cy="1332000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962" r="21647"/>
          <a:stretch/>
        </p:blipFill>
        <p:spPr>
          <a:xfrm>
            <a:off x="2090057" y="2365235"/>
            <a:ext cx="566058" cy="1673031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0416" y="2523217"/>
            <a:ext cx="509220" cy="1476000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707" y="2510517"/>
            <a:ext cx="509798" cy="1477448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3303" y="3302487"/>
            <a:ext cx="554764" cy="709666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0115" y="3039416"/>
            <a:ext cx="417289" cy="959603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21710" y="2539278"/>
            <a:ext cx="786826" cy="1476236"/>
          </a:xfrm>
          <a:prstGeom prst="rect">
            <a:avLst/>
          </a:prstGeom>
        </p:spPr>
      </p:pic>
      <p:pic>
        <p:nvPicPr>
          <p:cNvPr id="107" name="Picture 106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1123" y="3345655"/>
            <a:ext cx="531503" cy="679910"/>
          </a:xfrm>
          <a:prstGeom prst="rect">
            <a:avLst/>
          </a:prstGeom>
        </p:spPr>
      </p:pic>
      <p:pic>
        <p:nvPicPr>
          <p:cNvPr id="108" name="Picture 107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0985" y="2463691"/>
            <a:ext cx="586895" cy="1548462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0437" y="2510517"/>
            <a:ext cx="589166" cy="1513902"/>
          </a:xfrm>
          <a:prstGeom prst="rect">
            <a:avLst/>
          </a:prstGeom>
        </p:spPr>
      </p:pic>
      <p:pic>
        <p:nvPicPr>
          <p:cNvPr id="110" name="Picture 109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4066" y="3214074"/>
            <a:ext cx="317694" cy="784945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7529" y="3026716"/>
            <a:ext cx="805129" cy="985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44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rmAutofit/>
          </a:bodyPr>
          <a:lstStyle/>
          <a:p>
            <a:r>
              <a:rPr lang="ru-RU" altLang="en-US" dirty="0">
                <a:latin typeface="Myriad Pro Cond" panose="020B0506030403020204" pitchFamily="34" charset="0"/>
              </a:rPr>
              <a:t>Наша история</a:t>
            </a:r>
            <a:endParaRPr lang="en-US" altLang="en-US" dirty="0">
              <a:latin typeface="Myriad Pro Cond" panose="020B0506030403020204" pitchFamily="34" charset="0"/>
            </a:endParaRPr>
          </a:p>
        </p:txBody>
      </p:sp>
      <p:sp>
        <p:nvSpPr>
          <p:cNvPr id="49157" name="TextBox 5"/>
          <p:cNvSpPr txBox="1">
            <a:spLocks noChangeArrowheads="1"/>
          </p:cNvSpPr>
          <p:nvPr/>
        </p:nvSpPr>
        <p:spPr bwMode="auto">
          <a:xfrm>
            <a:off x="1884220" y="2119153"/>
            <a:ext cx="220518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Первая Американская национальная выставка, на которой Никита Хрущев попробовал 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Pepsi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1959</a:t>
            </a:r>
          </a:p>
        </p:txBody>
      </p:sp>
      <p:sp>
        <p:nvSpPr>
          <p:cNvPr id="49160" name="TextBox 17"/>
          <p:cNvSpPr txBox="1">
            <a:spLocks noChangeArrowheads="1"/>
          </p:cNvSpPr>
          <p:nvPr/>
        </p:nvSpPr>
        <p:spPr bwMode="auto">
          <a:xfrm>
            <a:off x="609599" y="4560684"/>
            <a:ext cx="2035501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1938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Регистрация торговой марки «Пепси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-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Кола» в СССР 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</p:txBody>
      </p:sp>
      <p:sp>
        <p:nvSpPr>
          <p:cNvPr id="49162" name="TextBox 20"/>
          <p:cNvSpPr txBox="1">
            <a:spLocks noChangeArrowheads="1"/>
          </p:cNvSpPr>
          <p:nvPr/>
        </p:nvSpPr>
        <p:spPr bwMode="auto">
          <a:xfrm>
            <a:off x="5645736" y="4524248"/>
            <a:ext cx="2088564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1997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Открытие завода по производству напитков в Самаре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</p:txBody>
      </p:sp>
      <p:sp>
        <p:nvSpPr>
          <p:cNvPr id="49164" name="TextBox 23"/>
          <p:cNvSpPr txBox="1">
            <a:spLocks noChangeArrowheads="1"/>
          </p:cNvSpPr>
          <p:nvPr/>
        </p:nvSpPr>
        <p:spPr bwMode="auto">
          <a:xfrm>
            <a:off x="9537700" y="2053578"/>
            <a:ext cx="24257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Одна из крупнейших сделок в истории 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PepsiCo: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приобретение компании «Вимм-Билль-Данн»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,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крупнейшего производителя молочных продуктов и соков в России и СНГ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2011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000" dirty="0">
              <a:solidFill>
                <a:srgbClr val="0070C0"/>
              </a:solidFill>
              <a:latin typeface="Myriad Pro" panose="020B0503030403020204" pitchFamily="34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751389" y="3512469"/>
            <a:ext cx="10564743" cy="637624"/>
          </a:xfrm>
          <a:custGeom>
            <a:avLst/>
            <a:gdLst>
              <a:gd name="connsiteX0" fmla="*/ 0 w 7457704"/>
              <a:gd name="connsiteY0" fmla="*/ 700847 h 760238"/>
              <a:gd name="connsiteX1" fmla="*/ 1745673 w 7457704"/>
              <a:gd name="connsiteY1" fmla="*/ 202 h 760238"/>
              <a:gd name="connsiteX2" fmla="*/ 4773881 w 7457704"/>
              <a:gd name="connsiteY2" fmla="*/ 760223 h 760238"/>
              <a:gd name="connsiteX3" fmla="*/ 7457704 w 7457704"/>
              <a:gd name="connsiteY3" fmla="*/ 23953 h 760238"/>
              <a:gd name="connsiteX4" fmla="*/ 7457704 w 7457704"/>
              <a:gd name="connsiteY4" fmla="*/ 23953 h 760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57704" h="760238">
                <a:moveTo>
                  <a:pt x="0" y="700847"/>
                </a:moveTo>
                <a:cubicBezTo>
                  <a:pt x="475013" y="345576"/>
                  <a:pt x="950026" y="-9694"/>
                  <a:pt x="1745673" y="202"/>
                </a:cubicBezTo>
                <a:cubicBezTo>
                  <a:pt x="2541320" y="10098"/>
                  <a:pt x="3821876" y="756265"/>
                  <a:pt x="4773881" y="760223"/>
                </a:cubicBezTo>
                <a:cubicBezTo>
                  <a:pt x="5725886" y="764181"/>
                  <a:pt x="7457704" y="23953"/>
                  <a:pt x="7457704" y="23953"/>
                </a:cubicBezTo>
                <a:lnTo>
                  <a:pt x="7457704" y="23953"/>
                </a:lnTo>
              </a:path>
            </a:pathLst>
          </a:custGeom>
          <a:noFill/>
          <a:ln w="57150" cap="rnd">
            <a:solidFill>
              <a:schemeClr val="bg1">
                <a:lumMod val="65000"/>
              </a:schemeClr>
            </a:solidFill>
            <a:prstDash val="sysDot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Myriad Pro" panose="020B0503030403020204" pitchFamily="34" charset="0"/>
            </a:endParaRPr>
          </a:p>
        </p:txBody>
      </p:sp>
      <p:pic>
        <p:nvPicPr>
          <p:cNvPr id="49176" name="Picture 35" descr="Wimm-Bill-Dann Corporate Logo"/>
          <p:cNvPicPr>
            <a:picLocks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56094" y="1376954"/>
            <a:ext cx="975473" cy="68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87" name="TextBox 19"/>
          <p:cNvSpPr txBox="1">
            <a:spLocks noChangeArrowheads="1"/>
          </p:cNvSpPr>
          <p:nvPr/>
        </p:nvSpPr>
        <p:spPr bwMode="auto">
          <a:xfrm>
            <a:off x="4480403" y="2385014"/>
            <a:ext cx="2161697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Запуск продаж картофельных чипсов 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Lay’s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в России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1992</a:t>
            </a:r>
          </a:p>
        </p:txBody>
      </p:sp>
      <p:sp>
        <p:nvSpPr>
          <p:cNvPr id="49189" name="TextBox 20"/>
          <p:cNvSpPr txBox="1">
            <a:spLocks noChangeArrowheads="1"/>
          </p:cNvSpPr>
          <p:nvPr/>
        </p:nvSpPr>
        <p:spPr bwMode="auto">
          <a:xfrm>
            <a:off x="3149935" y="4058694"/>
            <a:ext cx="1642561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1974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Открытие первого в СССР завода по розливу 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Pepsi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в Новороссийске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</p:txBody>
      </p:sp>
      <p:sp>
        <p:nvSpPr>
          <p:cNvPr id="49190" name="TextBox 19"/>
          <p:cNvSpPr txBox="1">
            <a:spLocks noChangeArrowheads="1"/>
          </p:cNvSpPr>
          <p:nvPr/>
        </p:nvSpPr>
        <p:spPr bwMode="auto">
          <a:xfrm>
            <a:off x="7080045" y="2668974"/>
            <a:ext cx="1840948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Открытие первого снекового завода в Кашире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2002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2212504" y="3004283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V="1">
            <a:off x="955647" y="4134182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V="1">
            <a:off x="4806540" y="3131283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V="1">
            <a:off x="5983075" y="4104094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3469361" y="3650877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V="1">
            <a:off x="9918412" y="3244355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7400576" y="3554384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flipV="1">
            <a:off x="8496788" y="4182650"/>
            <a:ext cx="0" cy="468000"/>
          </a:xfrm>
          <a:prstGeom prst="line">
            <a:avLst/>
          </a:prstGeom>
          <a:ln w="19050" cap="rnd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23"/>
          <p:cNvSpPr txBox="1">
            <a:spLocks noChangeArrowheads="1"/>
          </p:cNvSpPr>
          <p:nvPr/>
        </p:nvSpPr>
        <p:spPr bwMode="auto">
          <a:xfrm>
            <a:off x="8168498" y="4597751"/>
            <a:ext cx="1826114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bg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bg2"/>
              </a:buClr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eaLnBrk="1" hangingPunct="1">
              <a:spcBef>
                <a:spcPct val="0"/>
              </a:spcBef>
              <a:buClrTx/>
              <a:buNone/>
            </a:pPr>
            <a:r>
              <a:rPr lang="en-US" altLang="en-US" sz="2400" dirty="0">
                <a:solidFill>
                  <a:srgbClr val="0070C0"/>
                </a:solidFill>
                <a:latin typeface="+mj-lt"/>
              </a:rPr>
              <a:t>2008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Благодаря приобретению ОАО «</a:t>
            </a:r>
            <a:r>
              <a:rPr lang="ru-RU" altLang="en-US" sz="1000" dirty="0" err="1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Лебедянский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»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 PepsiCo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становится соковой компанией </a:t>
            </a:r>
            <a:r>
              <a:rPr lang="en-US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#1 </a:t>
            </a:r>
            <a:r>
              <a:rPr lang="ru-RU" altLang="en-US" sz="1000" dirty="0">
                <a:solidFill>
                  <a:schemeClr val="bg1">
                    <a:lumMod val="50000"/>
                  </a:schemeClr>
                </a:solidFill>
                <a:latin typeface="Myriad Pro" panose="020B0503030403020204" pitchFamily="34" charset="0"/>
              </a:rPr>
              <a:t>в России</a:t>
            </a:r>
            <a:endParaRPr lang="en-US" altLang="en-US" sz="1000" dirty="0">
              <a:solidFill>
                <a:schemeClr val="bg1">
                  <a:lumMod val="50000"/>
                </a:schemeClr>
              </a:solidFill>
              <a:latin typeface="Myriad Pro" panose="020B0503030403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en-US" altLang="en-US" sz="1000" dirty="0">
              <a:solidFill>
                <a:srgbClr val="0070C0"/>
              </a:solidFill>
              <a:latin typeface="Myriad Pro" panose="020B0503030403020204" pitchFamily="34" charset="0"/>
            </a:endParaRPr>
          </a:p>
        </p:txBody>
      </p:sp>
      <p:pic>
        <p:nvPicPr>
          <p:cNvPr id="12" name="Picture 11"/>
          <p:cNvPicPr>
            <a:picLocks/>
          </p:cNvPicPr>
          <p:nvPr/>
        </p:nvPicPr>
        <p:blipFill rotWithShape="1">
          <a:blip r:embed="rId4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1604" y="5676317"/>
            <a:ext cx="1186189" cy="740249"/>
          </a:xfrm>
          <a:prstGeom prst="rect">
            <a:avLst/>
          </a:prstGeom>
        </p:spPr>
      </p:pic>
      <p:pic>
        <p:nvPicPr>
          <p:cNvPr id="51" name="Picture 7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99201" y="1270760"/>
            <a:ext cx="1368000" cy="84240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386" name="Picture 2" descr="Картинки по запросу пепси кола ссср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701" y="5347785"/>
            <a:ext cx="1368000" cy="90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0" descr="http://www.pepsico.com/img/our-history-1970-3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8836" y="5004317"/>
            <a:ext cx="1368000" cy="843600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5" name="Group 54"/>
          <p:cNvGrpSpPr/>
          <p:nvPr/>
        </p:nvGrpSpPr>
        <p:grpSpPr>
          <a:xfrm>
            <a:off x="4367141" y="1546534"/>
            <a:ext cx="1368000" cy="842400"/>
            <a:chOff x="7686116" y="1510786"/>
            <a:chExt cx="1368000" cy="842400"/>
          </a:xfrm>
        </p:grpSpPr>
        <p:grpSp>
          <p:nvGrpSpPr>
            <p:cNvPr id="56" name="Group 55"/>
            <p:cNvGrpSpPr/>
            <p:nvPr/>
          </p:nvGrpSpPr>
          <p:grpSpPr>
            <a:xfrm>
              <a:off x="7900912" y="1515671"/>
              <a:ext cx="1003480" cy="828000"/>
              <a:chOff x="7954700" y="1502224"/>
              <a:chExt cx="1003480" cy="828000"/>
            </a:xfrm>
          </p:grpSpPr>
          <p:pic>
            <p:nvPicPr>
              <p:cNvPr id="58" name="Picture 49" descr="http://www.utkonos.ru/images/photo/3044/3044724H.jpg?1401451016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75820" y="1502224"/>
                <a:ext cx="582360" cy="82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9" name="Picture 51" descr="http://www.utkonos.ru/images/photo/3055/3055670H.jpg?1401451063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54700" y="1743337"/>
                <a:ext cx="421120" cy="57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7" name="Rectangle 56"/>
            <p:cNvSpPr/>
            <p:nvPr/>
          </p:nvSpPr>
          <p:spPr bwMode="auto">
            <a:xfrm>
              <a:off x="7686116" y="1510786"/>
              <a:ext cx="1368000" cy="84240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lIns="90000" tIns="36000" bIns="36000" rtlCol="0" anchor="ctr"/>
            <a:lstStyle/>
            <a:p>
              <a:pPr algn="ctr"/>
              <a:endParaRPr lang="ru-RU" sz="1200" dirty="0" err="1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60" name="Picture 36" descr="http://visualrian.ru/thumbnails/00000001448/1247967.thw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82062" y="1812692"/>
            <a:ext cx="1368000" cy="843600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32" descr="http://www.vpm.ru/img/pepsi.jp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36993" y="5319230"/>
            <a:ext cx="1368000" cy="843600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353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есь мир говорит о движении в сторону </a:t>
            </a:r>
            <a:r>
              <a:rPr lang="en-US" dirty="0"/>
              <a:t>addressability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Готовы ли мы к этому?</a:t>
            </a:r>
          </a:p>
        </p:txBody>
      </p:sp>
    </p:spTree>
    <p:extLst>
      <p:ext uri="{BB962C8B-B14F-4D97-AF65-F5344CB8AC3E}">
        <p14:creationId xmlns:p14="http://schemas.microsoft.com/office/powerpoint/2010/main" val="230239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(не) много лет назад</a:t>
            </a: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658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73606" y="1002698"/>
            <a:ext cx="12355620" cy="1179049"/>
          </a:xfrm>
        </p:spPr>
        <p:txBody>
          <a:bodyPr>
            <a:normAutofit fontScale="90000"/>
          </a:bodyPr>
          <a:lstStyle/>
          <a:p>
            <a:r>
              <a:rPr lang="ru-RU" sz="6700" dirty="0"/>
              <a:t>мы верим</a:t>
            </a:r>
            <a:br>
              <a:rPr lang="ru-RU" dirty="0"/>
            </a:br>
            <a:r>
              <a:rPr lang="ru-RU" dirty="0"/>
              <a:t>что </a:t>
            </a:r>
            <a:r>
              <a:rPr lang="ru-RU" dirty="0" err="1"/>
              <a:t>дижитал</a:t>
            </a:r>
            <a:r>
              <a:rPr lang="ru-RU" dirty="0"/>
              <a:t> – таргетированный канал, который хорошо попадает в выбранную аудиторию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9448800" y="6459538"/>
            <a:ext cx="2743200" cy="365125"/>
          </a:xfrm>
        </p:spPr>
        <p:txBody>
          <a:bodyPr/>
          <a:lstStyle/>
          <a:p>
            <a:fld id="{9A6AD5F6-4B01-4461-AAC3-6B1332B04485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150" name="Picture 6" descr="https://isc.gov.ir/images/www/fa/page/editor/2019/1558848912-websit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623" y="2443357"/>
            <a:ext cx="1087908" cy="1087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https://mfc32.ru/system/upload/pages/211/%D0%BE%D1%85%D0%B2%D0%B0%D1%8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955" y="4076700"/>
            <a:ext cx="2137164" cy="213716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http://cdn.onlinewebfonts.com/svg/img_128206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884" y="2545563"/>
            <a:ext cx="1105305" cy="906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8" name="Picture 14" descr="https://byware.net/wp-content/uploads/Individualnyiy-podho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995" y="4266699"/>
            <a:ext cx="1947165" cy="194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162300" y="3576836"/>
            <a:ext cx="2628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/>
              <a:t>ТАРГЕТИНГ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425920" y="3553480"/>
            <a:ext cx="14954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/>
              <a:t>ОХВАТ</a:t>
            </a:r>
          </a:p>
        </p:txBody>
      </p:sp>
    </p:spTree>
    <p:extLst>
      <p:ext uri="{BB962C8B-B14F-4D97-AF65-F5344CB8AC3E}">
        <p14:creationId xmlns:p14="http://schemas.microsoft.com/office/powerpoint/2010/main" val="2033655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8196" name="Picture 4" descr="https://vivat-consult.ru/assets/images/vopros/fiz-lica/pereryv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68579"/>
            <a:ext cx="12192000" cy="8346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2000" y="593615"/>
            <a:ext cx="10515600" cy="1179049"/>
          </a:xfrm>
        </p:spPr>
        <p:txBody>
          <a:bodyPr>
            <a:normAutofit fontScale="90000"/>
          </a:bodyPr>
          <a:lstStyle/>
          <a:p>
            <a:r>
              <a:rPr lang="ru-RU" sz="6600" dirty="0"/>
              <a:t>Доносит сообщение персонально</a:t>
            </a:r>
          </a:p>
        </p:txBody>
      </p:sp>
    </p:spTree>
    <p:extLst>
      <p:ext uri="{BB962C8B-B14F-4D97-AF65-F5344CB8AC3E}">
        <p14:creationId xmlns:p14="http://schemas.microsoft.com/office/powerpoint/2010/main" val="3243348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8" descr="Изображение выглядит как передний, большой, белый, длинный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3BB6F10A-DCB2-4BA9-830A-3142FBEA0B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751" y="-835782"/>
            <a:ext cx="12203501" cy="8213261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1E9FE8B-DE32-47C0-9D45-65CBFEBF5318}"/>
              </a:ext>
            </a:extLst>
          </p:cNvPr>
          <p:cNvSpPr/>
          <p:nvPr/>
        </p:nvSpPr>
        <p:spPr>
          <a:xfrm>
            <a:off x="2876" y="-881332"/>
            <a:ext cx="12191998" cy="8252602"/>
          </a:xfrm>
          <a:prstGeom prst="rect">
            <a:avLst/>
          </a:prstGeom>
          <a:solidFill>
            <a:srgbClr val="7F7F7F">
              <a:alpha val="3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1827" y="550173"/>
            <a:ext cx="8675299" cy="704070"/>
          </a:xfrm>
          <a:noFill/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  <a:latin typeface="Myriad Pro"/>
              </a:rPr>
              <a:t>разве что с небольшой ошибкой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3183386" y="3543056"/>
            <a:ext cx="5778261" cy="3755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3900" dirty="0">
                <a:solidFill>
                  <a:schemeClr val="bg1"/>
                </a:solidFill>
              </a:rPr>
              <a:t>80%</a:t>
            </a:r>
          </a:p>
        </p:txBody>
      </p:sp>
    </p:spTree>
    <p:extLst>
      <p:ext uri="{BB962C8B-B14F-4D97-AF65-F5344CB8AC3E}">
        <p14:creationId xmlns:p14="http://schemas.microsoft.com/office/powerpoint/2010/main" val="317734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7170" name="Picture 2" descr="https://prexplore.ru/wp-content/uploads/2019/03/MEDIASCOPE-CLIENTS-CONFERENCE-2017_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5463" y="-108669"/>
            <a:ext cx="14893325" cy="6981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6710" y="-108669"/>
            <a:ext cx="10515600" cy="1179049"/>
          </a:xfrm>
        </p:spPr>
        <p:txBody>
          <a:bodyPr>
            <a:normAutofit/>
          </a:bodyPr>
          <a:lstStyle/>
          <a:p>
            <a:r>
              <a:rPr lang="ru-RU" sz="5400" dirty="0">
                <a:solidFill>
                  <a:schemeClr val="bg1"/>
                </a:solidFill>
              </a:rPr>
              <a:t>Но точно в человека</a:t>
            </a:r>
          </a:p>
        </p:txBody>
      </p:sp>
    </p:spTree>
    <p:extLst>
      <p:ext uri="{BB962C8B-B14F-4D97-AF65-F5344CB8AC3E}">
        <p14:creationId xmlns:p14="http://schemas.microsoft.com/office/powerpoint/2010/main" val="884095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P Myriad Pro">
      <a:majorFont>
        <a:latin typeface="Myriad Pro Cond"/>
        <a:ea typeface=""/>
        <a:cs typeface=""/>
      </a:majorFont>
      <a:minorFont>
        <a:latin typeface="Myriad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ew pepsico omd templ 2019">
  <a:themeElements>
    <a:clrScheme name="Custom 53">
      <a:dk1>
        <a:srgbClr val="000000"/>
      </a:dk1>
      <a:lt1>
        <a:srgbClr val="FFFFFF"/>
      </a:lt1>
      <a:dk2>
        <a:srgbClr val="EE3024"/>
      </a:dk2>
      <a:lt2>
        <a:srgbClr val="48A23F"/>
      </a:lt2>
      <a:accent1>
        <a:srgbClr val="0086D6"/>
      </a:accent1>
      <a:accent2>
        <a:srgbClr val="E30087"/>
      </a:accent2>
      <a:accent3>
        <a:srgbClr val="FFCD00"/>
      </a:accent3>
      <a:accent4>
        <a:srgbClr val="228848"/>
      </a:accent4>
      <a:accent5>
        <a:srgbClr val="004EA8"/>
      </a:accent5>
      <a:accent6>
        <a:srgbClr val="87027B"/>
      </a:accent6>
      <a:hlink>
        <a:srgbClr val="004EA8"/>
      </a:hlink>
      <a:folHlink>
        <a:srgbClr val="0085D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000" tIns="18000" rIns="18000" bIns="18000" rtlCol="0">
        <a:noAutofit/>
      </a:bodyPr>
      <a:lstStyle>
        <a:defPPr algn="l">
          <a:defRPr sz="14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w pepsico omd templ 2019" id="{CB948911-0E5C-4AB7-8BA0-ABF3D2B91360}" vid="{5C8E2B6E-248E-49B0-B518-66FFE29BDDE8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EP Myriad Pro">
      <a:majorFont>
        <a:latin typeface="Myriad Pro Cond"/>
        <a:ea typeface=""/>
        <a:cs typeface=""/>
      </a:majorFont>
      <a:minorFont>
        <a:latin typeface="Myriad Pr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0210DE5C951546873115294EE65064" ma:contentTypeVersion="13" ma:contentTypeDescription="Create a new document." ma:contentTypeScope="" ma:versionID="1eee23de27f1057d23fa4c56f47aef3b">
  <xsd:schema xmlns:xsd="http://www.w3.org/2001/XMLSchema" xmlns:xs="http://www.w3.org/2001/XMLSchema" xmlns:p="http://schemas.microsoft.com/office/2006/metadata/properties" xmlns:ns3="cfd74c14-d66a-4901-b0c8-4cbe00f172ea" xmlns:ns4="9081d2ba-019f-4f78-a13d-5426c14989ab" targetNamespace="http://schemas.microsoft.com/office/2006/metadata/properties" ma:root="true" ma:fieldsID="aaf2b9c21f2f4d56f137272669f703a7" ns3:_="" ns4:_="">
    <xsd:import namespace="cfd74c14-d66a-4901-b0c8-4cbe00f172ea"/>
    <xsd:import namespace="9081d2ba-019f-4f78-a13d-5426c14989ab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d74c14-d66a-4901-b0c8-4cbe00f172e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81d2ba-019f-4f78-a13d-5426c14989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20CBE33-F9AC-4F11-9DC8-2DD01C5C9C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fd74c14-d66a-4901-b0c8-4cbe00f172ea"/>
    <ds:schemaRef ds:uri="9081d2ba-019f-4f78-a13d-5426c1498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F67E26-EA0E-4CE3-B366-CC1453B98F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8542277-6CA3-4FF5-A978-59196C22AE55}">
  <ds:schemaRefs>
    <ds:schemaRef ds:uri="http://schemas.microsoft.com/office/2006/metadata/properties"/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9081d2ba-019f-4f78-a13d-5426c14989ab"/>
    <ds:schemaRef ds:uri="cfd74c14-d66a-4901-b0c8-4cbe00f172e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231</TotalTime>
  <Words>442</Words>
  <Application>Microsoft Office PowerPoint</Application>
  <PresentationFormat>Widescreen</PresentationFormat>
  <Paragraphs>77</Paragraphs>
  <Slides>17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0" baseType="lpstr">
      <vt:lpstr>Calibri</vt:lpstr>
      <vt:lpstr>Wingdings</vt:lpstr>
      <vt:lpstr>GT Walsheim Pro</vt:lpstr>
      <vt:lpstr>Arial</vt:lpstr>
      <vt:lpstr>Helvetica Neue</vt:lpstr>
      <vt:lpstr>Myriad Pro Cond</vt:lpstr>
      <vt:lpstr>Trocchi</vt:lpstr>
      <vt:lpstr>Myriad Pro</vt:lpstr>
      <vt:lpstr>Arial Regular</vt:lpstr>
      <vt:lpstr>Office Theme</vt:lpstr>
      <vt:lpstr>new pepsico omd templ 2019</vt:lpstr>
      <vt:lpstr>1_Office Theme</vt:lpstr>
      <vt:lpstr>think-cell Slide</vt:lpstr>
      <vt:lpstr>Две стороны таргетинга данные и измерения </vt:lpstr>
      <vt:lpstr>PepsiCo Россия</vt:lpstr>
      <vt:lpstr>Наша история</vt:lpstr>
      <vt:lpstr>Весь мир говорит о движении в сторону addressability</vt:lpstr>
      <vt:lpstr>(не) много лет назад</vt:lpstr>
      <vt:lpstr>мы верим что дижитал – таргетированный канал, который хорошо попадает в выбранную аудиторию</vt:lpstr>
      <vt:lpstr>Доносит сообщение персонально</vt:lpstr>
      <vt:lpstr>разве что с небольшой ошибкой</vt:lpstr>
      <vt:lpstr>Но точно в человека</vt:lpstr>
      <vt:lpstr>Правда, не любого мы могли измерить</vt:lpstr>
      <vt:lpstr>А измерив, выяснили,  что не всегда попадаем точно</vt:lpstr>
      <vt:lpstr>и не всегда в людей -  до 2%</vt:lpstr>
      <vt:lpstr>Одна сторона решения – Data partnerships</vt:lpstr>
      <vt:lpstr>Но и здесь нет полной информации </vt:lpstr>
      <vt:lpstr>Мы понимаем, что наша линейка не идеальна</vt:lpstr>
      <vt:lpstr>Нужна объективная картина мира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Fitzgerald</dc:creator>
  <cp:lastModifiedBy>Vladimir Stepanov</cp:lastModifiedBy>
  <cp:revision>806</cp:revision>
  <cp:lastPrinted>2017-03-13T15:58:45Z</cp:lastPrinted>
  <dcterms:created xsi:type="dcterms:W3CDTF">2016-10-20T12:39:43Z</dcterms:created>
  <dcterms:modified xsi:type="dcterms:W3CDTF">2020-04-15T10:4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0210DE5C951546873115294EE65064</vt:lpwstr>
  </property>
</Properties>
</file>